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27"/>
  </p:notesMasterIdLst>
  <p:handoutMasterIdLst>
    <p:handoutMasterId r:id="rId28"/>
  </p:handoutMasterIdLst>
  <p:sldIdLst>
    <p:sldId id="2147373406" r:id="rId6"/>
    <p:sldId id="1001" r:id="rId7"/>
    <p:sldId id="2147373429" r:id="rId8"/>
    <p:sldId id="1007" r:id="rId9"/>
    <p:sldId id="734" r:id="rId10"/>
    <p:sldId id="276" r:id="rId11"/>
    <p:sldId id="1008" r:id="rId12"/>
    <p:sldId id="1049" r:id="rId13"/>
    <p:sldId id="1039" r:id="rId14"/>
    <p:sldId id="2147373425" r:id="rId15"/>
    <p:sldId id="2147373407" r:id="rId16"/>
    <p:sldId id="2147373409" r:id="rId17"/>
    <p:sldId id="2147373411" r:id="rId18"/>
    <p:sldId id="2147373413" r:id="rId19"/>
    <p:sldId id="2147373415" r:id="rId20"/>
    <p:sldId id="2147373417" r:id="rId21"/>
    <p:sldId id="2147373419" r:id="rId22"/>
    <p:sldId id="2147373421" r:id="rId23"/>
    <p:sldId id="2147373423" r:id="rId24"/>
    <p:sldId id="2147373426" r:id="rId25"/>
    <p:sldId id="2147373427" r:id="rId26"/>
  </p:sldIdLst>
  <p:sldSz cx="12192000" cy="6858000"/>
  <p:notesSz cx="6858000" cy="9144000"/>
  <p:embeddedFontLst>
    <p:embeddedFont>
      <p:font typeface="Ubuntu Light" panose="020B0604030602030204" charset="0"/>
      <p:regular r:id="rId29"/>
      <p:italic r:id="rId30"/>
    </p:embeddedFont>
    <p:embeddedFont>
      <p:font typeface="Verdana" panose="020B0604030504040204" pitchFamily="34" charset="0"/>
      <p:regular r:id="rId31"/>
      <p:bold r:id="rId32"/>
      <p:italic r:id="rId33"/>
      <p:boldItalic r:id="rId34"/>
    </p:embeddedFont>
    <p:embeddedFont>
      <p:font typeface="Lucida Sans" panose="020B0602030504020204" pitchFamily="34" charset="0"/>
      <p:regular r:id="rId35"/>
      <p:bold r:id="rId36"/>
      <p:italic r:id="rId37"/>
      <p:boldItalic r:id="rId38"/>
    </p:embeddedFont>
    <p:embeddedFont>
      <p:font typeface="Calibri" panose="020F0502020204030204" pitchFamily="34" charset="0"/>
      <p:regular r:id="rId39"/>
      <p:bold r:id="rId40"/>
      <p:italic r:id="rId41"/>
      <p:boldItalic r:id="rId42"/>
    </p:embeddedFont>
    <p:embeddedFont>
      <p:font typeface="Ubuntu" panose="020B0604020202020204" charset="0"/>
      <p:regular r:id="rId43"/>
      <p:bold r:id="rId44"/>
      <p:italic r:id="rId45"/>
      <p:boldItalic r:id="rId46"/>
    </p:embeddedFont>
    <p:embeddedFont>
      <p:font typeface="Ubuntu Medium" panose="020B0604030602030204" charset="0"/>
      <p:regular r:id="rId47"/>
    </p:embeddedFont>
  </p:embeddedFontLst>
  <p:custDataLst>
    <p:tags r:id="rId4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hajan, Ajaykumar"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A6A6A6"/>
    <a:srgbClr val="FFDA80"/>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6CC370-D3A2-47FA-A478-B1F61440035F}" v="34" dt="2021-10-04T17:06:33.853"/>
    <p1510:client id="{FFF6A405-F064-4DA7-BB9F-68C2628F46CF}" v="28" dt="2021-10-05T06:46:11.6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28" autoAdjust="0"/>
    <p:restoredTop sz="95789" autoAdjust="0"/>
  </p:normalViewPr>
  <p:slideViewPr>
    <p:cSldViewPr>
      <p:cViewPr varScale="1">
        <p:scale>
          <a:sx n="73" d="100"/>
          <a:sy n="73" d="100"/>
        </p:scale>
        <p:origin x="416" y="48"/>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1.fntdata"/><Relationship Id="rId21" Type="http://schemas.openxmlformats.org/officeDocument/2006/relationships/slide" Target="slides/slide16.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presProps" Target="presProps.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1.fntdata"/><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0" Type="http://schemas.openxmlformats.org/officeDocument/2006/relationships/slide" Target="slides/slide15.xml"/><Relationship Id="rId41" Type="http://schemas.openxmlformats.org/officeDocument/2006/relationships/font" Target="fonts/font13.fntdata"/><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ul, Ashish" userId="db056bc6-23e6-45da-aa65-393bba088a82" providerId="ADAL" clId="{146CC370-D3A2-47FA-A478-B1F61440035F}"/>
    <pc:docChg chg="undo custSel delSld modSld">
      <pc:chgData name="Kaul, Ashish" userId="db056bc6-23e6-45da-aa65-393bba088a82" providerId="ADAL" clId="{146CC370-D3A2-47FA-A478-B1F61440035F}" dt="2021-10-05T04:35:09.788" v="152" actId="47"/>
      <pc:docMkLst>
        <pc:docMk/>
      </pc:docMkLst>
      <pc:sldChg chg="modSp mod">
        <pc:chgData name="Kaul, Ashish" userId="db056bc6-23e6-45da-aa65-393bba088a82" providerId="ADAL" clId="{146CC370-D3A2-47FA-A478-B1F61440035F}" dt="2021-10-04T17:10:34.736" v="151" actId="255"/>
        <pc:sldMkLst>
          <pc:docMk/>
          <pc:sldMk cId="2855990985" sldId="276"/>
        </pc:sldMkLst>
        <pc:spChg chg="mod">
          <ac:chgData name="Kaul, Ashish" userId="db056bc6-23e6-45da-aa65-393bba088a82" providerId="ADAL" clId="{146CC370-D3A2-47FA-A478-B1F61440035F}" dt="2021-10-04T17:10:34.736" v="151" actId="255"/>
          <ac:spMkLst>
            <pc:docMk/>
            <pc:sldMk cId="2855990985" sldId="276"/>
            <ac:spMk id="16" creationId="{61F41917-DFCF-41A5-B77B-30BD2BE55868}"/>
          </ac:spMkLst>
        </pc:spChg>
      </pc:sldChg>
      <pc:sldChg chg="modSp mod">
        <pc:chgData name="Kaul, Ashish" userId="db056bc6-23e6-45da-aa65-393bba088a82" providerId="ADAL" clId="{146CC370-D3A2-47FA-A478-B1F61440035F}" dt="2021-10-04T16:51:20.944" v="21" actId="20577"/>
        <pc:sldMkLst>
          <pc:docMk/>
          <pc:sldMk cId="1889830984" sldId="734"/>
        </pc:sldMkLst>
        <pc:spChg chg="mod">
          <ac:chgData name="Kaul, Ashish" userId="db056bc6-23e6-45da-aa65-393bba088a82" providerId="ADAL" clId="{146CC370-D3A2-47FA-A478-B1F61440035F}" dt="2021-10-04T16:51:20.944" v="21" actId="20577"/>
          <ac:spMkLst>
            <pc:docMk/>
            <pc:sldMk cId="1889830984" sldId="734"/>
            <ac:spMk id="4" creationId="{3C55E415-F6A4-4794-B008-EC87896A51AC}"/>
          </ac:spMkLst>
        </pc:spChg>
      </pc:sldChg>
      <pc:sldChg chg="modSp mod">
        <pc:chgData name="Kaul, Ashish" userId="db056bc6-23e6-45da-aa65-393bba088a82" providerId="ADAL" clId="{146CC370-D3A2-47FA-A478-B1F61440035F}" dt="2021-10-04T17:09:35.119" v="150" actId="6549"/>
        <pc:sldMkLst>
          <pc:docMk/>
          <pc:sldMk cId="4223175608" sldId="1008"/>
        </pc:sldMkLst>
        <pc:spChg chg="mod">
          <ac:chgData name="Kaul, Ashish" userId="db056bc6-23e6-45da-aa65-393bba088a82" providerId="ADAL" clId="{146CC370-D3A2-47FA-A478-B1F61440035F}" dt="2021-10-04T17:08:35.364" v="142" actId="20577"/>
          <ac:spMkLst>
            <pc:docMk/>
            <pc:sldMk cId="4223175608" sldId="1008"/>
            <ac:spMk id="4" creationId="{8BB89BED-2FA4-4A72-B91D-CED542B6BB0C}"/>
          </ac:spMkLst>
        </pc:spChg>
        <pc:spChg chg="mod">
          <ac:chgData name="Kaul, Ashish" userId="db056bc6-23e6-45da-aa65-393bba088a82" providerId="ADAL" clId="{146CC370-D3A2-47FA-A478-B1F61440035F}" dt="2021-10-04T17:09:35.119" v="150" actId="6549"/>
          <ac:spMkLst>
            <pc:docMk/>
            <pc:sldMk cId="4223175608" sldId="1008"/>
            <ac:spMk id="5" creationId="{F3C66C73-6C2C-4EB1-9316-DFAB45100393}"/>
          </ac:spMkLst>
        </pc:spChg>
      </pc:sldChg>
      <pc:sldChg chg="del">
        <pc:chgData name="Kaul, Ashish" userId="db056bc6-23e6-45da-aa65-393bba088a82" providerId="ADAL" clId="{146CC370-D3A2-47FA-A478-B1F61440035F}" dt="2021-10-05T04:35:09.788" v="152" actId="47"/>
        <pc:sldMkLst>
          <pc:docMk/>
          <pc:sldMk cId="1170595147" sldId="1046"/>
        </pc:sldMkLst>
      </pc:sldChg>
      <pc:sldChg chg="addSp delSp modSp mod modAnim">
        <pc:chgData name="Kaul, Ashish" userId="db056bc6-23e6-45da-aa65-393bba088a82" providerId="ADAL" clId="{146CC370-D3A2-47FA-A478-B1F61440035F}" dt="2021-10-04T17:06:33.853" v="138" actId="113"/>
        <pc:sldMkLst>
          <pc:docMk/>
          <pc:sldMk cId="2663886759" sldId="1049"/>
        </pc:sldMkLst>
        <pc:spChg chg="mod">
          <ac:chgData name="Kaul, Ashish" userId="db056bc6-23e6-45da-aa65-393bba088a82" providerId="ADAL" clId="{146CC370-D3A2-47FA-A478-B1F61440035F}" dt="2021-10-04T16:53:14.840" v="24" actId="6549"/>
          <ac:spMkLst>
            <pc:docMk/>
            <pc:sldMk cId="2663886759" sldId="1049"/>
            <ac:spMk id="2" creationId="{CB2C0F85-30AF-4A7B-938C-24C2F464A399}"/>
          </ac:spMkLst>
        </pc:spChg>
        <pc:spChg chg="mod">
          <ac:chgData name="Kaul, Ashish" userId="db056bc6-23e6-45da-aa65-393bba088a82" providerId="ADAL" clId="{146CC370-D3A2-47FA-A478-B1F61440035F}" dt="2021-10-04T16:55:41.585" v="108" actId="108"/>
          <ac:spMkLst>
            <pc:docMk/>
            <pc:sldMk cId="2663886759" sldId="1049"/>
            <ac:spMk id="3" creationId="{B490EBA8-8698-49C6-91C6-93EB77884919}"/>
          </ac:spMkLst>
        </pc:spChg>
        <pc:spChg chg="add del mod">
          <ac:chgData name="Kaul, Ashish" userId="db056bc6-23e6-45da-aa65-393bba088a82" providerId="ADAL" clId="{146CC370-D3A2-47FA-A478-B1F61440035F}" dt="2021-10-04T16:52:58.629" v="23"/>
          <ac:spMkLst>
            <pc:docMk/>
            <pc:sldMk cId="2663886759" sldId="1049"/>
            <ac:spMk id="4" creationId="{F9F12DBD-DC03-41C5-88EC-D79773FFF29A}"/>
          </ac:spMkLst>
        </pc:spChg>
        <pc:spChg chg="add del mod">
          <ac:chgData name="Kaul, Ashish" userId="db056bc6-23e6-45da-aa65-393bba088a82" providerId="ADAL" clId="{146CC370-D3A2-47FA-A478-B1F61440035F}" dt="2021-10-04T16:52:58.629" v="23"/>
          <ac:spMkLst>
            <pc:docMk/>
            <pc:sldMk cId="2663886759" sldId="1049"/>
            <ac:spMk id="5" creationId="{CA574188-F150-4E25-BAF7-AFF62A3FB5B2}"/>
          </ac:spMkLst>
        </pc:spChg>
        <pc:spChg chg="add del mod">
          <ac:chgData name="Kaul, Ashish" userId="db056bc6-23e6-45da-aa65-393bba088a82" providerId="ADAL" clId="{146CC370-D3A2-47FA-A478-B1F61440035F}" dt="2021-10-04T16:52:58.629" v="23"/>
          <ac:spMkLst>
            <pc:docMk/>
            <pc:sldMk cId="2663886759" sldId="1049"/>
            <ac:spMk id="6" creationId="{6FFC4DDA-3269-4FE1-B3F9-43534AD7F9A5}"/>
          </ac:spMkLst>
        </pc:spChg>
        <pc:spChg chg="add del mod">
          <ac:chgData name="Kaul, Ashish" userId="db056bc6-23e6-45da-aa65-393bba088a82" providerId="ADAL" clId="{146CC370-D3A2-47FA-A478-B1F61440035F}" dt="2021-10-04T16:52:58.629" v="23"/>
          <ac:spMkLst>
            <pc:docMk/>
            <pc:sldMk cId="2663886759" sldId="1049"/>
            <ac:spMk id="7" creationId="{C503D14E-3277-422E-9ABF-94A959E99A85}"/>
          </ac:spMkLst>
        </pc:spChg>
        <pc:spChg chg="add del mod">
          <ac:chgData name="Kaul, Ashish" userId="db056bc6-23e6-45da-aa65-393bba088a82" providerId="ADAL" clId="{146CC370-D3A2-47FA-A478-B1F61440035F}" dt="2021-10-04T16:52:58.629" v="23"/>
          <ac:spMkLst>
            <pc:docMk/>
            <pc:sldMk cId="2663886759" sldId="1049"/>
            <ac:spMk id="8" creationId="{D6BCECF4-2530-4B6F-92E1-101FF2BDF3C0}"/>
          </ac:spMkLst>
        </pc:spChg>
        <pc:spChg chg="add del mod">
          <ac:chgData name="Kaul, Ashish" userId="db056bc6-23e6-45da-aa65-393bba088a82" providerId="ADAL" clId="{146CC370-D3A2-47FA-A478-B1F61440035F}" dt="2021-10-04T16:52:58.629" v="23"/>
          <ac:spMkLst>
            <pc:docMk/>
            <pc:sldMk cId="2663886759" sldId="1049"/>
            <ac:spMk id="9" creationId="{7929944A-F38B-4550-85D0-84421A987BEF}"/>
          </ac:spMkLst>
        </pc:spChg>
        <pc:spChg chg="add del mod">
          <ac:chgData name="Kaul, Ashish" userId="db056bc6-23e6-45da-aa65-393bba088a82" providerId="ADAL" clId="{146CC370-D3A2-47FA-A478-B1F61440035F}" dt="2021-10-04T16:52:58.629" v="23"/>
          <ac:spMkLst>
            <pc:docMk/>
            <pc:sldMk cId="2663886759" sldId="1049"/>
            <ac:spMk id="10" creationId="{92B4DAB8-122E-4813-BD6F-80B2E22860E3}"/>
          </ac:spMkLst>
        </pc:spChg>
        <pc:spChg chg="add del mod">
          <ac:chgData name="Kaul, Ashish" userId="db056bc6-23e6-45da-aa65-393bba088a82" providerId="ADAL" clId="{146CC370-D3A2-47FA-A478-B1F61440035F}" dt="2021-10-04T16:52:58.629" v="23"/>
          <ac:spMkLst>
            <pc:docMk/>
            <pc:sldMk cId="2663886759" sldId="1049"/>
            <ac:spMk id="11" creationId="{6C89A7E6-31A5-4746-AC67-53C4319F6E98}"/>
          </ac:spMkLst>
        </pc:spChg>
        <pc:spChg chg="add del mod">
          <ac:chgData name="Kaul, Ashish" userId="db056bc6-23e6-45da-aa65-393bba088a82" providerId="ADAL" clId="{146CC370-D3A2-47FA-A478-B1F61440035F}" dt="2021-10-04T16:52:58.629" v="23"/>
          <ac:spMkLst>
            <pc:docMk/>
            <pc:sldMk cId="2663886759" sldId="1049"/>
            <ac:spMk id="12" creationId="{C6CB59A0-7D02-484A-9B93-262822BF8A54}"/>
          </ac:spMkLst>
        </pc:spChg>
        <pc:spChg chg="add del mod">
          <ac:chgData name="Kaul, Ashish" userId="db056bc6-23e6-45da-aa65-393bba088a82" providerId="ADAL" clId="{146CC370-D3A2-47FA-A478-B1F61440035F}" dt="2021-10-04T16:52:58.629" v="23"/>
          <ac:spMkLst>
            <pc:docMk/>
            <pc:sldMk cId="2663886759" sldId="1049"/>
            <ac:spMk id="13" creationId="{58287AC0-20A1-4831-BD2D-C85BCB9F9240}"/>
          </ac:spMkLst>
        </pc:spChg>
        <pc:spChg chg="add del mod">
          <ac:chgData name="Kaul, Ashish" userId="db056bc6-23e6-45da-aa65-393bba088a82" providerId="ADAL" clId="{146CC370-D3A2-47FA-A478-B1F61440035F}" dt="2021-10-04T16:52:58.629" v="23"/>
          <ac:spMkLst>
            <pc:docMk/>
            <pc:sldMk cId="2663886759" sldId="1049"/>
            <ac:spMk id="14" creationId="{78D6B299-B89F-4022-9739-681040BAA7AA}"/>
          </ac:spMkLst>
        </pc:spChg>
        <pc:spChg chg="mod">
          <ac:chgData name="Kaul, Ashish" userId="db056bc6-23e6-45da-aa65-393bba088a82" providerId="ADAL" clId="{146CC370-D3A2-47FA-A478-B1F61440035F}" dt="2021-10-04T16:52:46.866" v="22"/>
          <ac:spMkLst>
            <pc:docMk/>
            <pc:sldMk cId="2663886759" sldId="1049"/>
            <ac:spMk id="16" creationId="{DCADE632-32BE-4293-B436-5BB14402CF40}"/>
          </ac:spMkLst>
        </pc:spChg>
        <pc:spChg chg="mod">
          <ac:chgData name="Kaul, Ashish" userId="db056bc6-23e6-45da-aa65-393bba088a82" providerId="ADAL" clId="{146CC370-D3A2-47FA-A478-B1F61440035F}" dt="2021-10-04T16:52:46.866" v="22"/>
          <ac:spMkLst>
            <pc:docMk/>
            <pc:sldMk cId="2663886759" sldId="1049"/>
            <ac:spMk id="17" creationId="{3DF3BE69-3D9C-40F6-B5AD-18EA852C002C}"/>
          </ac:spMkLst>
        </pc:spChg>
        <pc:spChg chg="mod">
          <ac:chgData name="Kaul, Ashish" userId="db056bc6-23e6-45da-aa65-393bba088a82" providerId="ADAL" clId="{146CC370-D3A2-47FA-A478-B1F61440035F}" dt="2021-10-04T16:52:46.866" v="22"/>
          <ac:spMkLst>
            <pc:docMk/>
            <pc:sldMk cId="2663886759" sldId="1049"/>
            <ac:spMk id="18" creationId="{47F35115-636C-4CBE-8FB9-3A819732C8C2}"/>
          </ac:spMkLst>
        </pc:spChg>
        <pc:spChg chg="mod">
          <ac:chgData name="Kaul, Ashish" userId="db056bc6-23e6-45da-aa65-393bba088a82" providerId="ADAL" clId="{146CC370-D3A2-47FA-A478-B1F61440035F}" dt="2021-10-04T16:52:46.866" v="22"/>
          <ac:spMkLst>
            <pc:docMk/>
            <pc:sldMk cId="2663886759" sldId="1049"/>
            <ac:spMk id="19" creationId="{DB480EDC-2D0B-4518-A85C-1CA29ABE0A15}"/>
          </ac:spMkLst>
        </pc:spChg>
        <pc:spChg chg="mod">
          <ac:chgData name="Kaul, Ashish" userId="db056bc6-23e6-45da-aa65-393bba088a82" providerId="ADAL" clId="{146CC370-D3A2-47FA-A478-B1F61440035F}" dt="2021-10-04T16:52:46.866" v="22"/>
          <ac:spMkLst>
            <pc:docMk/>
            <pc:sldMk cId="2663886759" sldId="1049"/>
            <ac:spMk id="20" creationId="{0D757200-2888-4896-9C1E-4D0CB3CEFE8B}"/>
          </ac:spMkLst>
        </pc:spChg>
        <pc:spChg chg="mod">
          <ac:chgData name="Kaul, Ashish" userId="db056bc6-23e6-45da-aa65-393bba088a82" providerId="ADAL" clId="{146CC370-D3A2-47FA-A478-B1F61440035F}" dt="2021-10-04T16:52:46.866" v="22"/>
          <ac:spMkLst>
            <pc:docMk/>
            <pc:sldMk cId="2663886759" sldId="1049"/>
            <ac:spMk id="21" creationId="{47C1CE4F-8480-48C5-8632-C7979F386B0F}"/>
          </ac:spMkLst>
        </pc:spChg>
        <pc:spChg chg="add del mod">
          <ac:chgData name="Kaul, Ashish" userId="db056bc6-23e6-45da-aa65-393bba088a82" providerId="ADAL" clId="{146CC370-D3A2-47FA-A478-B1F61440035F}" dt="2021-10-04T16:52:58.629" v="23"/>
          <ac:spMkLst>
            <pc:docMk/>
            <pc:sldMk cId="2663886759" sldId="1049"/>
            <ac:spMk id="22" creationId="{25CB2D55-F728-4D32-8091-FC6FC8756D3D}"/>
          </ac:spMkLst>
        </pc:spChg>
        <pc:spChg chg="add del mod">
          <ac:chgData name="Kaul, Ashish" userId="db056bc6-23e6-45da-aa65-393bba088a82" providerId="ADAL" clId="{146CC370-D3A2-47FA-A478-B1F61440035F}" dt="2021-10-04T16:54:49.815" v="68" actId="21"/>
          <ac:spMkLst>
            <pc:docMk/>
            <pc:sldMk cId="2663886759" sldId="1049"/>
            <ac:spMk id="23" creationId="{444BFA9D-AD3E-419C-82C4-23AF7221DE5B}"/>
          </ac:spMkLst>
        </pc:spChg>
        <pc:spChg chg="add mod">
          <ac:chgData name="Kaul, Ashish" userId="db056bc6-23e6-45da-aa65-393bba088a82" providerId="ADAL" clId="{146CC370-D3A2-47FA-A478-B1F61440035F}" dt="2021-10-04T17:03:36.210" v="112" actId="2711"/>
          <ac:spMkLst>
            <pc:docMk/>
            <pc:sldMk cId="2663886759" sldId="1049"/>
            <ac:spMk id="24" creationId="{A046EC5B-BE10-4005-912B-77D57143DFC5}"/>
          </ac:spMkLst>
        </pc:spChg>
        <pc:spChg chg="add mod">
          <ac:chgData name="Kaul, Ashish" userId="db056bc6-23e6-45da-aa65-393bba088a82" providerId="ADAL" clId="{146CC370-D3A2-47FA-A478-B1F61440035F}" dt="2021-10-04T16:53:17.570" v="25"/>
          <ac:spMkLst>
            <pc:docMk/>
            <pc:sldMk cId="2663886759" sldId="1049"/>
            <ac:spMk id="25" creationId="{8D7B2777-510E-4E99-BA3C-21C6BFB953FB}"/>
          </ac:spMkLst>
        </pc:spChg>
        <pc:spChg chg="add mod">
          <ac:chgData name="Kaul, Ashish" userId="db056bc6-23e6-45da-aa65-393bba088a82" providerId="ADAL" clId="{146CC370-D3A2-47FA-A478-B1F61440035F}" dt="2021-10-04T16:53:17.570" v="25"/>
          <ac:spMkLst>
            <pc:docMk/>
            <pc:sldMk cId="2663886759" sldId="1049"/>
            <ac:spMk id="26" creationId="{01D709ED-3CE7-477D-8A86-6BAB5D924CE8}"/>
          </ac:spMkLst>
        </pc:spChg>
        <pc:spChg chg="add mod">
          <ac:chgData name="Kaul, Ashish" userId="db056bc6-23e6-45da-aa65-393bba088a82" providerId="ADAL" clId="{146CC370-D3A2-47FA-A478-B1F61440035F}" dt="2021-10-04T17:05:27.448" v="130" actId="20577"/>
          <ac:spMkLst>
            <pc:docMk/>
            <pc:sldMk cId="2663886759" sldId="1049"/>
            <ac:spMk id="27" creationId="{40ED1CBF-BD26-4DCB-822F-562B0F258190}"/>
          </ac:spMkLst>
        </pc:spChg>
        <pc:spChg chg="add mod">
          <ac:chgData name="Kaul, Ashish" userId="db056bc6-23e6-45da-aa65-393bba088a82" providerId="ADAL" clId="{146CC370-D3A2-47FA-A478-B1F61440035F}" dt="2021-10-04T16:53:17.570" v="25"/>
          <ac:spMkLst>
            <pc:docMk/>
            <pc:sldMk cId="2663886759" sldId="1049"/>
            <ac:spMk id="28" creationId="{9651B9BC-7792-4873-8B9E-FA8FB0BF67B0}"/>
          </ac:spMkLst>
        </pc:spChg>
        <pc:spChg chg="add mod">
          <ac:chgData name="Kaul, Ashish" userId="db056bc6-23e6-45da-aa65-393bba088a82" providerId="ADAL" clId="{146CC370-D3A2-47FA-A478-B1F61440035F}" dt="2021-10-04T17:06:33.853" v="138" actId="113"/>
          <ac:spMkLst>
            <pc:docMk/>
            <pc:sldMk cId="2663886759" sldId="1049"/>
            <ac:spMk id="29" creationId="{F8C40EDB-3189-4E7A-B829-E19BFA7EDA15}"/>
          </ac:spMkLst>
        </pc:spChg>
        <pc:spChg chg="add mod">
          <ac:chgData name="Kaul, Ashish" userId="db056bc6-23e6-45da-aa65-393bba088a82" providerId="ADAL" clId="{146CC370-D3A2-47FA-A478-B1F61440035F}" dt="2021-10-04T16:53:17.570" v="25"/>
          <ac:spMkLst>
            <pc:docMk/>
            <pc:sldMk cId="2663886759" sldId="1049"/>
            <ac:spMk id="30" creationId="{CB485996-C1E3-4BF1-97D9-F131E11CE401}"/>
          </ac:spMkLst>
        </pc:spChg>
        <pc:spChg chg="add mod">
          <ac:chgData name="Kaul, Ashish" userId="db056bc6-23e6-45da-aa65-393bba088a82" providerId="ADAL" clId="{146CC370-D3A2-47FA-A478-B1F61440035F}" dt="2021-10-04T16:53:17.570" v="25"/>
          <ac:spMkLst>
            <pc:docMk/>
            <pc:sldMk cId="2663886759" sldId="1049"/>
            <ac:spMk id="31" creationId="{F8CD038D-DAE9-404C-B92E-FA1871C83BEE}"/>
          </ac:spMkLst>
        </pc:spChg>
        <pc:spChg chg="add mod">
          <ac:chgData name="Kaul, Ashish" userId="db056bc6-23e6-45da-aa65-393bba088a82" providerId="ADAL" clId="{146CC370-D3A2-47FA-A478-B1F61440035F}" dt="2021-10-04T16:53:17.570" v="25"/>
          <ac:spMkLst>
            <pc:docMk/>
            <pc:sldMk cId="2663886759" sldId="1049"/>
            <ac:spMk id="32" creationId="{30D02607-7235-4AC2-8177-F4717F4C343F}"/>
          </ac:spMkLst>
        </pc:spChg>
        <pc:spChg chg="add mod">
          <ac:chgData name="Kaul, Ashish" userId="db056bc6-23e6-45da-aa65-393bba088a82" providerId="ADAL" clId="{146CC370-D3A2-47FA-A478-B1F61440035F}" dt="2021-10-04T16:53:17.570" v="25"/>
          <ac:spMkLst>
            <pc:docMk/>
            <pc:sldMk cId="2663886759" sldId="1049"/>
            <ac:spMk id="33" creationId="{A921735F-43D2-435D-ADEE-AAD4AFE94003}"/>
          </ac:spMkLst>
        </pc:spChg>
        <pc:spChg chg="mod">
          <ac:chgData name="Kaul, Ashish" userId="db056bc6-23e6-45da-aa65-393bba088a82" providerId="ADAL" clId="{146CC370-D3A2-47FA-A478-B1F61440035F}" dt="2021-10-04T16:53:17.570" v="25"/>
          <ac:spMkLst>
            <pc:docMk/>
            <pc:sldMk cId="2663886759" sldId="1049"/>
            <ac:spMk id="35" creationId="{431939E4-26AD-4F4B-B647-86F27F4D1F82}"/>
          </ac:spMkLst>
        </pc:spChg>
        <pc:spChg chg="mod">
          <ac:chgData name="Kaul, Ashish" userId="db056bc6-23e6-45da-aa65-393bba088a82" providerId="ADAL" clId="{146CC370-D3A2-47FA-A478-B1F61440035F}" dt="2021-10-04T16:53:17.570" v="25"/>
          <ac:spMkLst>
            <pc:docMk/>
            <pc:sldMk cId="2663886759" sldId="1049"/>
            <ac:spMk id="36" creationId="{81387D7D-94D8-4021-A598-4C502A976846}"/>
          </ac:spMkLst>
        </pc:spChg>
        <pc:spChg chg="mod">
          <ac:chgData name="Kaul, Ashish" userId="db056bc6-23e6-45da-aa65-393bba088a82" providerId="ADAL" clId="{146CC370-D3A2-47FA-A478-B1F61440035F}" dt="2021-10-04T16:53:17.570" v="25"/>
          <ac:spMkLst>
            <pc:docMk/>
            <pc:sldMk cId="2663886759" sldId="1049"/>
            <ac:spMk id="37" creationId="{D6FCF3FF-5E4F-49FA-BB79-E110E6B3A733}"/>
          </ac:spMkLst>
        </pc:spChg>
        <pc:spChg chg="mod">
          <ac:chgData name="Kaul, Ashish" userId="db056bc6-23e6-45da-aa65-393bba088a82" providerId="ADAL" clId="{146CC370-D3A2-47FA-A478-B1F61440035F}" dt="2021-10-04T16:53:17.570" v="25"/>
          <ac:spMkLst>
            <pc:docMk/>
            <pc:sldMk cId="2663886759" sldId="1049"/>
            <ac:spMk id="38" creationId="{AAD57373-27EA-41B5-AF88-D74F27E1CE3D}"/>
          </ac:spMkLst>
        </pc:spChg>
        <pc:spChg chg="mod">
          <ac:chgData name="Kaul, Ashish" userId="db056bc6-23e6-45da-aa65-393bba088a82" providerId="ADAL" clId="{146CC370-D3A2-47FA-A478-B1F61440035F}" dt="2021-10-04T16:53:17.570" v="25"/>
          <ac:spMkLst>
            <pc:docMk/>
            <pc:sldMk cId="2663886759" sldId="1049"/>
            <ac:spMk id="39" creationId="{29E63097-C763-45C2-BBED-486DDC730B3A}"/>
          </ac:spMkLst>
        </pc:spChg>
        <pc:spChg chg="mod">
          <ac:chgData name="Kaul, Ashish" userId="db056bc6-23e6-45da-aa65-393bba088a82" providerId="ADAL" clId="{146CC370-D3A2-47FA-A478-B1F61440035F}" dt="2021-10-04T16:53:17.570" v="25"/>
          <ac:spMkLst>
            <pc:docMk/>
            <pc:sldMk cId="2663886759" sldId="1049"/>
            <ac:spMk id="40" creationId="{26AA6245-7EE8-4965-AC03-07B90CF0D73B}"/>
          </ac:spMkLst>
        </pc:spChg>
        <pc:spChg chg="add mod">
          <ac:chgData name="Kaul, Ashish" userId="db056bc6-23e6-45da-aa65-393bba088a82" providerId="ADAL" clId="{146CC370-D3A2-47FA-A478-B1F61440035F}" dt="2021-10-04T17:04:10.525" v="115" actId="113"/>
          <ac:spMkLst>
            <pc:docMk/>
            <pc:sldMk cId="2663886759" sldId="1049"/>
            <ac:spMk id="41" creationId="{05FB4C5E-AAD9-4FF0-A686-236A872C8EFB}"/>
          </ac:spMkLst>
        </pc:spChg>
        <pc:grpChg chg="add del mod">
          <ac:chgData name="Kaul, Ashish" userId="db056bc6-23e6-45da-aa65-393bba088a82" providerId="ADAL" clId="{146CC370-D3A2-47FA-A478-B1F61440035F}" dt="2021-10-04T16:52:58.629" v="23"/>
          <ac:grpSpMkLst>
            <pc:docMk/>
            <pc:sldMk cId="2663886759" sldId="1049"/>
            <ac:grpSpMk id="15" creationId="{BFD36C91-9A66-458D-810F-F201E1D2B0DF}"/>
          </ac:grpSpMkLst>
        </pc:grpChg>
        <pc:grpChg chg="add mod">
          <ac:chgData name="Kaul, Ashish" userId="db056bc6-23e6-45da-aa65-393bba088a82" providerId="ADAL" clId="{146CC370-D3A2-47FA-A478-B1F61440035F}" dt="2021-10-04T16:53:17.570" v="25"/>
          <ac:grpSpMkLst>
            <pc:docMk/>
            <pc:sldMk cId="2663886759" sldId="1049"/>
            <ac:grpSpMk id="34" creationId="{55F7E557-F787-4C02-BF56-9E931D7AA569}"/>
          </ac:grpSpMkLst>
        </pc:grpChg>
      </pc:sldChg>
    </pc:docChg>
  </pc:docChgLst>
  <pc:docChgLst>
    <pc:chgData name="Kaul, Ashish" userId="db056bc6-23e6-45da-aa65-393bba088a82" providerId="ADAL" clId="{FFF6A405-F064-4DA7-BB9F-68C2628F46CF}"/>
    <pc:docChg chg="undo custSel modSld">
      <pc:chgData name="Kaul, Ashish" userId="db056bc6-23e6-45da-aa65-393bba088a82" providerId="ADAL" clId="{FFF6A405-F064-4DA7-BB9F-68C2628F46CF}" dt="2021-10-05T06:46:11.669" v="40" actId="20577"/>
      <pc:docMkLst>
        <pc:docMk/>
      </pc:docMkLst>
      <pc:sldChg chg="modSp">
        <pc:chgData name="Kaul, Ashish" userId="db056bc6-23e6-45da-aa65-393bba088a82" providerId="ADAL" clId="{FFF6A405-F064-4DA7-BB9F-68C2628F46CF}" dt="2021-10-05T06:46:11.669" v="40" actId="20577"/>
        <pc:sldMkLst>
          <pc:docMk/>
          <pc:sldMk cId="337468842" sldId="1001"/>
        </pc:sldMkLst>
        <pc:spChg chg="mod">
          <ac:chgData name="Kaul, Ashish" userId="db056bc6-23e6-45da-aa65-393bba088a82" providerId="ADAL" clId="{FFF6A405-F064-4DA7-BB9F-68C2628F46CF}" dt="2021-10-05T06:46:11.669" v="40" actId="20577"/>
          <ac:spMkLst>
            <pc:docMk/>
            <pc:sldMk cId="337468842" sldId="1001"/>
            <ac:spMk id="4" creationId="{15E659B3-EA4B-405E-9FAE-00661F32418F}"/>
          </ac:spMkLst>
        </pc:spChg>
      </pc:sldChg>
      <pc:sldChg chg="modSp mod">
        <pc:chgData name="Kaul, Ashish" userId="db056bc6-23e6-45da-aa65-393bba088a82" providerId="ADAL" clId="{FFF6A405-F064-4DA7-BB9F-68C2628F46CF}" dt="2021-10-05T06:15:23.306" v="12" actId="6549"/>
        <pc:sldMkLst>
          <pc:docMk/>
          <pc:sldMk cId="998745995" sldId="1039"/>
        </pc:sldMkLst>
        <pc:spChg chg="mod">
          <ac:chgData name="Kaul, Ashish" userId="db056bc6-23e6-45da-aa65-393bba088a82" providerId="ADAL" clId="{FFF6A405-F064-4DA7-BB9F-68C2628F46CF}" dt="2021-10-05T06:15:23.306" v="12" actId="6549"/>
          <ac:spMkLst>
            <pc:docMk/>
            <pc:sldMk cId="998745995" sldId="1039"/>
            <ac:spMk id="2" creationId="{5F8C6948-1A1E-45FF-83AE-95F699C903D6}"/>
          </ac:spMkLst>
        </pc:spChg>
        <pc:spChg chg="mod">
          <ac:chgData name="Kaul, Ashish" userId="db056bc6-23e6-45da-aa65-393bba088a82" providerId="ADAL" clId="{FFF6A405-F064-4DA7-BB9F-68C2628F46CF}" dt="2021-10-05T06:15:17.279" v="10" actId="1076"/>
          <ac:spMkLst>
            <pc:docMk/>
            <pc:sldMk cId="998745995" sldId="1039"/>
            <ac:spMk id="34" creationId="{5DF1E6D3-1106-4044-B327-FAC96A1CA60D}"/>
          </ac:spMkLst>
        </pc:spChg>
        <pc:spChg chg="mod">
          <ac:chgData name="Kaul, Ashish" userId="db056bc6-23e6-45da-aa65-393bba088a82" providerId="ADAL" clId="{FFF6A405-F064-4DA7-BB9F-68C2628F46CF}" dt="2021-10-05T06:12:56.673" v="1" actId="1076"/>
          <ac:spMkLst>
            <pc:docMk/>
            <pc:sldMk cId="998745995" sldId="1039"/>
            <ac:spMk id="41" creationId="{52E40B5A-8CF2-4635-BC12-B61005492B57}"/>
          </ac:spMkLst>
        </pc:spChg>
        <pc:spChg chg="mod">
          <ac:chgData name="Kaul, Ashish" userId="db056bc6-23e6-45da-aa65-393bba088a82" providerId="ADAL" clId="{FFF6A405-F064-4DA7-BB9F-68C2628F46CF}" dt="2021-10-05T06:15:13.104" v="8" actId="1076"/>
          <ac:spMkLst>
            <pc:docMk/>
            <pc:sldMk cId="998745995" sldId="1039"/>
            <ac:spMk id="42" creationId="{42A6DC9B-0F03-4F3F-B07D-D5A2C40C089E}"/>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0-06-01T23:38:14.471" idx="2">
    <p:pos x="5390" y="1386"/>
    <p:text>Pipe Puzzle
Candidates must re-arrange the pipes to connect the two end points. Avoid the solid obstacles and make sure you have enough pipes. Typical time to complete: 6 minutes.
g facets: spatial scanning, visual memory, flexibility of closure.</p:text>
    <p:extLst mod="1">
      <p:ext uri="{C676402C-5697-4E1C-873F-D02D1690AC5C}">
        <p15:threadingInfo xmlns:p15="http://schemas.microsoft.com/office/powerpoint/2012/main" timeZoneBias="0"/>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commentPostId="AAAAPofWtEg"/>
      </p:ext>
    </p:extLst>
  </p:cm>
  <p:cm authorId="1" dt="2020-06-01T23:41:44.390" idx="1">
    <p:pos x="5414" y="2214"/>
    <p:text>MindmetriQ™ Gamified Assessments
Professional gamified assessments built with serious science.
Valid, reliable, and fair gamified assessments which predict job performance. Using established research and cutting-edge technology, the MindmetriQ™ gamified assessment series helps you select the best candidates</p:text>
    <p:extLst mod="1">
      <p:ext uri="{C676402C-5697-4E1C-873F-D02D1690AC5C}">
        <p15:threadingInfo xmlns:p15="http://schemas.microsoft.com/office/powerpoint/2012/main" timeZoneBias="0"/>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commentPostId="AAAAPofWtE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0/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9"/>
        <p:cNvGrpSpPr/>
        <p:nvPr/>
      </p:nvGrpSpPr>
      <p:grpSpPr>
        <a:xfrm>
          <a:off x="0" y="0"/>
          <a:ext cx="0" cy="0"/>
          <a:chOff x="0" y="0"/>
          <a:chExt cx="0" cy="0"/>
        </a:xfrm>
      </p:grpSpPr>
      <p:sp>
        <p:nvSpPr>
          <p:cNvPr id="600" name="Google Shape;600;p1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01" name="Google Shape;601;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4562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1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79" name="Google Shape;679;p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5678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4"/>
        <p:cNvGrpSpPr/>
        <p:nvPr/>
      </p:nvGrpSpPr>
      <p:grpSpPr>
        <a:xfrm>
          <a:off x="0" y="0"/>
          <a:ext cx="0" cy="0"/>
          <a:chOff x="0" y="0"/>
          <a:chExt cx="0" cy="0"/>
        </a:xfrm>
      </p:grpSpPr>
      <p:sp>
        <p:nvSpPr>
          <p:cNvPr id="685" name="Google Shape;685;p1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86" name="Google Shape;686;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8444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6"/>
        <p:cNvGrpSpPr/>
        <p:nvPr/>
      </p:nvGrpSpPr>
      <p:grpSpPr>
        <a:xfrm>
          <a:off x="0" y="0"/>
          <a:ext cx="0" cy="0"/>
          <a:chOff x="0" y="0"/>
          <a:chExt cx="0" cy="0"/>
        </a:xfrm>
      </p:grpSpPr>
      <p:sp>
        <p:nvSpPr>
          <p:cNvPr id="727" name="Google Shape;727;p1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28" name="Google Shape;728;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16989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6"/>
        <p:cNvGrpSpPr/>
        <p:nvPr/>
      </p:nvGrpSpPr>
      <p:grpSpPr>
        <a:xfrm>
          <a:off x="0" y="0"/>
          <a:ext cx="0" cy="0"/>
          <a:chOff x="0" y="0"/>
          <a:chExt cx="0" cy="0"/>
        </a:xfrm>
      </p:grpSpPr>
      <p:sp>
        <p:nvSpPr>
          <p:cNvPr id="827" name="Google Shape;827;p1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28" name="Google Shape;828;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9178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8: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37" name="Google Shape;93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805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8"/>
        <p:cNvGrpSpPr/>
        <p:nvPr/>
      </p:nvGrpSpPr>
      <p:grpSpPr>
        <a:xfrm>
          <a:off x="0" y="0"/>
          <a:ext cx="0" cy="0"/>
          <a:chOff x="0" y="0"/>
          <a:chExt cx="0" cy="0"/>
        </a:xfrm>
      </p:grpSpPr>
      <p:sp>
        <p:nvSpPr>
          <p:cNvPr id="1059" name="Google Shape;1059;p19: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60" name="Google Shape;1060;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261489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5.png"/><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image" Target="../media/image12.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5.png"/><Relationship Id="rId2" Type="http://schemas.openxmlformats.org/officeDocument/2006/relationships/tags" Target="../tags/tag7.xml"/><Relationship Id="rId16" Type="http://schemas.openxmlformats.org/officeDocument/2006/relationships/image" Target="../media/image11.png"/><Relationship Id="rId1" Type="http://schemas.openxmlformats.org/officeDocument/2006/relationships/tags" Target="../tags/tag6.xml"/><Relationship Id="rId6" Type="http://schemas.openxmlformats.org/officeDocument/2006/relationships/image" Target="../media/image13.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xmlns="" id="{A13EC437-90A9-4D93-B8BD-D518FF5F30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xmlns="" id="{41ECBE34-C326-4AAC-A3C0-F242BBE1E79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9545356" y="632212"/>
            <a:ext cx="2238657" cy="49808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xmlns=""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xmlns=""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xmlns=""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xmlns=""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xmlns=""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xmlns=""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3" name="Text Placeholder 7">
            <a:extLst>
              <a:ext uri="{FF2B5EF4-FFF2-40B4-BE49-F238E27FC236}">
                <a16:creationId xmlns:a16="http://schemas.microsoft.com/office/drawing/2014/main" xmlns=""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4" name="Text Placeholder 7">
            <a:extLst>
              <a:ext uri="{FF2B5EF4-FFF2-40B4-BE49-F238E27FC236}">
                <a16:creationId xmlns:a16="http://schemas.microsoft.com/office/drawing/2014/main" xmlns=""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Title 2">
            <a:extLst>
              <a:ext uri="{FF2B5EF4-FFF2-40B4-BE49-F238E27FC236}">
                <a16:creationId xmlns:a16="http://schemas.microsoft.com/office/drawing/2014/main" xmlns="" id="{18A66D25-366C-4142-B5D9-9A4107D8BC80}"/>
              </a:ext>
            </a:extLst>
          </p:cNvPr>
          <p:cNvSpPr>
            <a:spLocks noGrp="1"/>
          </p:cNvSpPr>
          <p:nvPr>
            <p:ph type="title"/>
          </p:nvPr>
        </p:nvSpPr>
        <p:spPr/>
        <p:txBody>
          <a:bodyPr/>
          <a:lstStyle/>
          <a:p>
            <a:r>
              <a:rPr lang="en-GB"/>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p:txBody>
          <a:bodyPr/>
          <a:lstStyle/>
          <a:p>
            <a:r>
              <a:rPr lang="en-GB"/>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xmlns=""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Title 2">
            <a:extLst>
              <a:ext uri="{FF2B5EF4-FFF2-40B4-BE49-F238E27FC236}">
                <a16:creationId xmlns:a16="http://schemas.microsoft.com/office/drawing/2014/main" xmlns=""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xmlns="" id="{E7C5D7A7-45E9-4756-B28B-644907783FEA}"/>
              </a:ext>
            </a:extLst>
          </p:cNvPr>
          <p:cNvSpPr>
            <a:spLocks noGrp="1"/>
          </p:cNvSpPr>
          <p:nvPr>
            <p:ph type="body" sz="quarter" idx="10"/>
          </p:nvPr>
        </p:nvSpPr>
        <p:spPr>
          <a:xfrm>
            <a:off x="404812" y="1447800"/>
            <a:ext cx="11406188" cy="49516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Title 2">
            <a:extLst>
              <a:ext uri="{FF2B5EF4-FFF2-40B4-BE49-F238E27FC236}">
                <a16:creationId xmlns:a16="http://schemas.microsoft.com/office/drawing/2014/main" xmlns="" id="{0C89E73A-8AF6-4995-85C4-948312F9A282}"/>
              </a:ext>
            </a:extLst>
          </p:cNvPr>
          <p:cNvSpPr>
            <a:spLocks noGrp="1"/>
          </p:cNvSpPr>
          <p:nvPr>
            <p:ph type="title"/>
          </p:nvPr>
        </p:nvSpPr>
        <p:spPr/>
        <p:txBody>
          <a:bodyPr/>
          <a:lstStyle/>
          <a:p>
            <a:r>
              <a:rPr lang="en-GB"/>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endParaRPr lang="en-GB" dirty="0"/>
          </a:p>
        </p:txBody>
      </p:sp>
      <p:sp>
        <p:nvSpPr>
          <p:cNvPr id="9" name="Text Placeholder 8">
            <a:extLst>
              <a:ext uri="{FF2B5EF4-FFF2-40B4-BE49-F238E27FC236}">
                <a16:creationId xmlns:a16="http://schemas.microsoft.com/office/drawing/2014/main" xmlns=""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xmlns=""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GB"/>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xmlns=""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endParaRPr lang="en-GB" dirty="0"/>
          </a:p>
        </p:txBody>
      </p:sp>
      <p:sp>
        <p:nvSpPr>
          <p:cNvPr id="2" name="Title">
            <a:extLst>
              <a:ext uri="{FF2B5EF4-FFF2-40B4-BE49-F238E27FC236}">
                <a16:creationId xmlns:a16="http://schemas.microsoft.com/office/drawing/2014/main" xmlns=""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GB"/>
              <a:t>Click to edit Master title style</a:t>
            </a:r>
            <a:endParaRPr lang="en-GB" dirty="0"/>
          </a:p>
        </p:txBody>
      </p:sp>
      <p:sp>
        <p:nvSpPr>
          <p:cNvPr id="5" name="Text Placeholder 4">
            <a:extLst>
              <a:ext uri="{FF2B5EF4-FFF2-40B4-BE49-F238E27FC236}">
                <a16:creationId xmlns:a16="http://schemas.microsoft.com/office/drawing/2014/main" xmlns="" id="{D410FA47-1FF8-451B-8532-F1B477524FA0}"/>
              </a:ext>
            </a:extLst>
          </p:cNvPr>
          <p:cNvSpPr>
            <a:spLocks noGrp="1"/>
          </p:cNvSpPr>
          <p:nvPr>
            <p:ph type="body" sz="quarter" idx="11"/>
          </p:nvPr>
        </p:nvSpPr>
        <p:spPr>
          <a:xfrm>
            <a:off x="404813" y="2492374"/>
            <a:ext cx="6627290" cy="27368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270424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xmlns=""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endParaRPr lang="en-GB" dirty="0"/>
          </a:p>
        </p:txBody>
      </p:sp>
      <p:sp>
        <p:nvSpPr>
          <p:cNvPr id="2" name="Title">
            <a:extLst>
              <a:ext uri="{FF2B5EF4-FFF2-40B4-BE49-F238E27FC236}">
                <a16:creationId xmlns:a16="http://schemas.microsoft.com/office/drawing/2014/main" xmlns=""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GB"/>
              <a:t>Click to edit Master title style</a:t>
            </a:r>
            <a:endParaRPr lang="en-GB" dirty="0"/>
          </a:p>
        </p:txBody>
      </p:sp>
      <p:sp>
        <p:nvSpPr>
          <p:cNvPr id="10" name="Espace réservé du texte 9">
            <a:extLst>
              <a:ext uri="{FF2B5EF4-FFF2-40B4-BE49-F238E27FC236}">
                <a16:creationId xmlns:a16="http://schemas.microsoft.com/office/drawing/2014/main" xmlns=""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3843140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xmlns=""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xmlns=""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xmlns=""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xmlns=""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A13EC437-90A9-4D93-B8BD-D518FF5F30B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5635613" y="4242574"/>
            <a:ext cx="61484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5638799" y="2818195"/>
            <a:ext cx="6152147" cy="1354217"/>
          </a:xfrm>
        </p:spPr>
        <p:txBody>
          <a:bodyPr wrap="square" lIns="36000" rIns="36000" bIns="0" anchor="b" anchorCtr="0">
            <a:spAutoFit/>
          </a:bodyPr>
          <a:lstStyle>
            <a:lvl1pPr algn="l">
              <a:lnSpc>
                <a:spcPct val="100000"/>
              </a:lnSpc>
              <a:defRPr sz="4400" b="1" baseline="0">
                <a:solidFill>
                  <a:schemeClr val="bg1"/>
                </a:solidFill>
                <a:latin typeface="Ubuntu" panose="020B0504030602030204" pitchFamily="34" charset="0"/>
              </a:defRPr>
            </a:lvl1pPr>
          </a:lstStyle>
          <a:p>
            <a:r>
              <a:rPr lang="en-GB"/>
              <a:t>Click to edit Master title style</a:t>
            </a:r>
            <a:endParaRPr lang="en-GB" dirty="0"/>
          </a:p>
        </p:txBody>
      </p:sp>
      <p:pic>
        <p:nvPicPr>
          <p:cNvPr id="9" name="Graphic 8">
            <a:extLst>
              <a:ext uri="{FF2B5EF4-FFF2-40B4-BE49-F238E27FC236}">
                <a16:creationId xmlns:a16="http://schemas.microsoft.com/office/drawing/2014/main" xmlns="" id="{B9BB1C5A-E8BC-4CC2-A248-38A114C18F8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9545356" y="632212"/>
            <a:ext cx="2238657" cy="498088"/>
          </a:xfrm>
          <a:prstGeom prst="rect">
            <a:avLst/>
          </a:prstGeom>
        </p:spPr>
      </p:pic>
    </p:spTree>
    <p:extLst>
      <p:ext uri="{BB962C8B-B14F-4D97-AF65-F5344CB8AC3E}">
        <p14:creationId xmlns:p14="http://schemas.microsoft.com/office/powerpoint/2010/main" val="68942254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xmlns=""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xmlns=""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xmlns=""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xmlns=""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xmlns=""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xmlns=""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xmlns=""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xmlns=""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xmlns=""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xmlns="" id="{67291309-8FC0-47AE-9F48-E59E45B7FC6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xmlns=""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7137657"/>
      </p:ext>
    </p:extLst>
  </p:cSld>
  <p:clrMapOvr>
    <a:masterClrMapping/>
  </p:clrMapOvr>
  <p:transition spd="med">
    <p:pull/>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2"/>
        <p:cNvGrpSpPr/>
        <p:nvPr/>
      </p:nvGrpSpPr>
      <p:grpSpPr>
        <a:xfrm>
          <a:off x="0" y="0"/>
          <a:ext cx="0" cy="0"/>
          <a:chOff x="0" y="0"/>
          <a:chExt cx="0" cy="0"/>
        </a:xfrm>
      </p:grpSpPr>
      <p:sp>
        <p:nvSpPr>
          <p:cNvPr id="63" name="Google Shape;63;p32"/>
          <p:cNvSpPr txBox="1">
            <a:spLocks noGrp="1"/>
          </p:cNvSpPr>
          <p:nvPr>
            <p:ph type="title"/>
          </p:nvPr>
        </p:nvSpPr>
        <p:spPr>
          <a:xfrm>
            <a:off x="288651" y="164637"/>
            <a:ext cx="11664000" cy="7560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32"/>
          <p:cNvSpPr txBox="1">
            <a:spLocks noGrp="1"/>
          </p:cNvSpPr>
          <p:nvPr>
            <p:ph type="body" idx="1"/>
          </p:nvPr>
        </p:nvSpPr>
        <p:spPr>
          <a:xfrm>
            <a:off x="288651" y="1454400"/>
            <a:ext cx="11664000" cy="4633200"/>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SzPts val="1800"/>
              <a:buChar char="▶"/>
              <a:defRPr/>
            </a:lvl1pPr>
            <a:lvl2pPr marL="1219170" lvl="1" indent="-457189" algn="l">
              <a:spcBef>
                <a:spcPts val="512"/>
              </a:spcBef>
              <a:spcAft>
                <a:spcPts val="0"/>
              </a:spcAft>
              <a:buSzPts val="1800"/>
              <a:buChar char="–"/>
              <a:defRPr/>
            </a:lvl2pPr>
            <a:lvl3pPr marL="1828754" lvl="2" indent="-457189" algn="l">
              <a:spcBef>
                <a:spcPts val="480"/>
              </a:spcBef>
              <a:spcAft>
                <a:spcPts val="0"/>
              </a:spcAft>
              <a:buSzPts val="1800"/>
              <a:buChar char="•"/>
              <a:defRPr/>
            </a:lvl3pPr>
            <a:lvl4pPr marL="2438339" lvl="3" indent="-457189" algn="l">
              <a:spcBef>
                <a:spcPts val="480"/>
              </a:spcBef>
              <a:spcAft>
                <a:spcPts val="0"/>
              </a:spcAft>
              <a:buSzPts val="1800"/>
              <a:buChar char="–"/>
              <a:defRPr/>
            </a:lvl4pPr>
            <a:lvl5pPr marL="3047924" lvl="4" indent="-457189" algn="l">
              <a:spcBef>
                <a:spcPts val="480"/>
              </a:spcBef>
              <a:spcAft>
                <a:spcPts val="0"/>
              </a:spcAft>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65" name="Google Shape;65;p32"/>
          <p:cNvSpPr txBox="1">
            <a:spLocks noGrp="1"/>
          </p:cNvSpPr>
          <p:nvPr>
            <p:ph type="dt" idx="10"/>
          </p:nvPr>
        </p:nvSpPr>
        <p:spPr>
          <a:xfrm>
            <a:off x="0" y="0"/>
            <a:ext cx="4000000" cy="4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400">
                <a:solidFill>
                  <a:schemeClr val="dk1"/>
                </a:solidFill>
                <a:latin typeface="Verdana"/>
                <a:ea typeface="Verdana"/>
                <a:cs typeface="Verdana"/>
                <a:sym typeface="Verdana"/>
              </a:defRPr>
            </a:lvl1pPr>
            <a:lvl2pPr marR="0" lvl="1"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9pPr>
          </a:lstStyle>
          <a:p>
            <a:endParaRPr/>
          </a:p>
        </p:txBody>
      </p:sp>
      <p:sp>
        <p:nvSpPr>
          <p:cNvPr id="66" name="Google Shape;66;p32"/>
          <p:cNvSpPr txBox="1">
            <a:spLocks noGrp="1"/>
          </p:cNvSpPr>
          <p:nvPr>
            <p:ph type="ftr" idx="11"/>
          </p:nvPr>
        </p:nvSpPr>
        <p:spPr>
          <a:xfrm>
            <a:off x="0" y="0"/>
            <a:ext cx="4000000" cy="4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400">
                <a:solidFill>
                  <a:schemeClr val="dk1"/>
                </a:solidFill>
                <a:latin typeface="Verdana"/>
                <a:ea typeface="Verdana"/>
                <a:cs typeface="Verdana"/>
                <a:sym typeface="Verdana"/>
              </a:defRPr>
            </a:lvl1pPr>
            <a:lvl2pPr marR="0" lvl="1"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9pPr>
          </a:lstStyle>
          <a:p>
            <a:endParaRPr/>
          </a:p>
        </p:txBody>
      </p:sp>
      <p:sp>
        <p:nvSpPr>
          <p:cNvPr id="67" name="Google Shape;67;p32"/>
          <p:cNvSpPr txBox="1">
            <a:spLocks noGrp="1"/>
          </p:cNvSpPr>
          <p:nvPr>
            <p:ph type="sldNum" idx="12"/>
          </p:nvPr>
        </p:nvSpPr>
        <p:spPr>
          <a:xfrm>
            <a:off x="320400" y="6326136"/>
            <a:ext cx="591024" cy="288033"/>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9057405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Basic">
  <p:cSld name="Title and Content Basic">
    <p:spTree>
      <p:nvGrpSpPr>
        <p:cNvPr id="1" name="Shape 19"/>
        <p:cNvGrpSpPr/>
        <p:nvPr/>
      </p:nvGrpSpPr>
      <p:grpSpPr>
        <a:xfrm>
          <a:off x="0" y="0"/>
          <a:ext cx="0" cy="0"/>
          <a:chOff x="0" y="0"/>
          <a:chExt cx="0" cy="0"/>
        </a:xfrm>
      </p:grpSpPr>
      <p:sp>
        <p:nvSpPr>
          <p:cNvPr id="20" name="Google Shape;20;p25"/>
          <p:cNvSpPr txBox="1">
            <a:spLocks noGrp="1"/>
          </p:cNvSpPr>
          <p:nvPr>
            <p:ph type="body" idx="1"/>
          </p:nvPr>
        </p:nvSpPr>
        <p:spPr>
          <a:xfrm>
            <a:off x="320400" y="1534637"/>
            <a:ext cx="11664000" cy="4633200"/>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SzPts val="1800"/>
              <a:buChar char="▶"/>
              <a:defRPr/>
            </a:lvl1pPr>
            <a:lvl2pPr marL="1219170" lvl="1" indent="-457189" algn="l">
              <a:spcBef>
                <a:spcPts val="512"/>
              </a:spcBef>
              <a:spcAft>
                <a:spcPts val="0"/>
              </a:spcAft>
              <a:buSzPts val="1800"/>
              <a:buChar char="–"/>
              <a:defRPr/>
            </a:lvl2pPr>
            <a:lvl3pPr marL="1828754" lvl="2" indent="-457189" algn="l">
              <a:spcBef>
                <a:spcPts val="480"/>
              </a:spcBef>
              <a:spcAft>
                <a:spcPts val="0"/>
              </a:spcAft>
              <a:buSzPts val="1800"/>
              <a:buChar char="•"/>
              <a:defRPr/>
            </a:lvl3pPr>
            <a:lvl4pPr marL="2438339" lvl="3" indent="-457189" algn="l">
              <a:spcBef>
                <a:spcPts val="480"/>
              </a:spcBef>
              <a:spcAft>
                <a:spcPts val="0"/>
              </a:spcAft>
              <a:buSzPts val="1800"/>
              <a:buChar char="–"/>
              <a:defRPr/>
            </a:lvl4pPr>
            <a:lvl5pPr marL="3047924" lvl="4" indent="-457189" algn="l">
              <a:spcBef>
                <a:spcPts val="480"/>
              </a:spcBef>
              <a:spcAft>
                <a:spcPts val="0"/>
              </a:spcAft>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dirty="0"/>
          </a:p>
        </p:txBody>
      </p:sp>
      <p:sp>
        <p:nvSpPr>
          <p:cNvPr id="21" name="Google Shape;21;p25"/>
          <p:cNvSpPr txBox="1">
            <a:spLocks noGrp="1"/>
          </p:cNvSpPr>
          <p:nvPr>
            <p:ph type="sldNum" idx="12"/>
          </p:nvPr>
        </p:nvSpPr>
        <p:spPr>
          <a:xfrm>
            <a:off x="320400" y="6326136"/>
            <a:ext cx="591024" cy="288033"/>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333">
                <a:solidFill>
                  <a:schemeClr val="dk1"/>
                </a:solidFill>
                <a:latin typeface="Verdana"/>
                <a:ea typeface="Verdana"/>
                <a:cs typeface="Verdana"/>
                <a:sym typeface="Verdana"/>
              </a:defRPr>
            </a:lvl1pPr>
            <a:lvl2pPr marL="0" lvl="1" indent="0" algn="l">
              <a:spcBef>
                <a:spcPts val="0"/>
              </a:spcBef>
              <a:buNone/>
              <a:defRPr sz="1333">
                <a:solidFill>
                  <a:schemeClr val="dk1"/>
                </a:solidFill>
                <a:latin typeface="Verdana"/>
                <a:ea typeface="Verdana"/>
                <a:cs typeface="Verdana"/>
                <a:sym typeface="Verdana"/>
              </a:defRPr>
            </a:lvl2pPr>
            <a:lvl3pPr marL="0" lvl="2" indent="0" algn="l">
              <a:spcBef>
                <a:spcPts val="0"/>
              </a:spcBef>
              <a:buNone/>
              <a:defRPr sz="1333">
                <a:solidFill>
                  <a:schemeClr val="dk1"/>
                </a:solidFill>
                <a:latin typeface="Verdana"/>
                <a:ea typeface="Verdana"/>
                <a:cs typeface="Verdana"/>
                <a:sym typeface="Verdana"/>
              </a:defRPr>
            </a:lvl3pPr>
            <a:lvl4pPr marL="0" lvl="3" indent="0" algn="l">
              <a:spcBef>
                <a:spcPts val="0"/>
              </a:spcBef>
              <a:buNone/>
              <a:defRPr sz="1333">
                <a:solidFill>
                  <a:schemeClr val="dk1"/>
                </a:solidFill>
                <a:latin typeface="Verdana"/>
                <a:ea typeface="Verdana"/>
                <a:cs typeface="Verdana"/>
                <a:sym typeface="Verdana"/>
              </a:defRPr>
            </a:lvl4pPr>
            <a:lvl5pPr marL="0" lvl="4" indent="0" algn="l">
              <a:spcBef>
                <a:spcPts val="0"/>
              </a:spcBef>
              <a:buNone/>
              <a:defRPr sz="1333">
                <a:solidFill>
                  <a:schemeClr val="dk1"/>
                </a:solidFill>
                <a:latin typeface="Verdana"/>
                <a:ea typeface="Verdana"/>
                <a:cs typeface="Verdana"/>
                <a:sym typeface="Verdana"/>
              </a:defRPr>
            </a:lvl5pPr>
            <a:lvl6pPr marL="0" lvl="5" indent="0" algn="l">
              <a:spcBef>
                <a:spcPts val="0"/>
              </a:spcBef>
              <a:buNone/>
              <a:defRPr sz="1333">
                <a:solidFill>
                  <a:schemeClr val="dk1"/>
                </a:solidFill>
                <a:latin typeface="Verdana"/>
                <a:ea typeface="Verdana"/>
                <a:cs typeface="Verdana"/>
                <a:sym typeface="Verdana"/>
              </a:defRPr>
            </a:lvl6pPr>
            <a:lvl7pPr marL="0" lvl="6" indent="0" algn="l">
              <a:spcBef>
                <a:spcPts val="0"/>
              </a:spcBef>
              <a:buNone/>
              <a:defRPr sz="1333">
                <a:solidFill>
                  <a:schemeClr val="dk1"/>
                </a:solidFill>
                <a:latin typeface="Verdana"/>
                <a:ea typeface="Verdana"/>
                <a:cs typeface="Verdana"/>
                <a:sym typeface="Verdana"/>
              </a:defRPr>
            </a:lvl7pPr>
            <a:lvl8pPr marL="0" lvl="7" indent="0" algn="l">
              <a:spcBef>
                <a:spcPts val="0"/>
              </a:spcBef>
              <a:buNone/>
              <a:defRPr sz="1333">
                <a:solidFill>
                  <a:schemeClr val="dk1"/>
                </a:solidFill>
                <a:latin typeface="Verdana"/>
                <a:ea typeface="Verdana"/>
                <a:cs typeface="Verdana"/>
                <a:sym typeface="Verdana"/>
              </a:defRPr>
            </a:lvl8pPr>
            <a:lvl9pPr marL="0" lvl="8" indent="0" algn="l">
              <a:spcBef>
                <a:spcPts val="0"/>
              </a:spcBef>
              <a:buNone/>
              <a:defRPr sz="1333">
                <a:solidFill>
                  <a:schemeClr val="dk1"/>
                </a:solidFill>
                <a:latin typeface="Verdana"/>
                <a:ea typeface="Verdana"/>
                <a:cs typeface="Verdana"/>
                <a:sym typeface="Verdana"/>
              </a:defRPr>
            </a:lvl9pPr>
          </a:lstStyle>
          <a:p>
            <a:fld id="{00000000-1234-1234-1234-123412341234}" type="slidenum">
              <a:rPr lang="en-US" smtClean="0"/>
              <a:pPr/>
              <a:t>‹#›</a:t>
            </a:fld>
            <a:endParaRPr lang="en-US"/>
          </a:p>
        </p:txBody>
      </p:sp>
      <p:sp>
        <p:nvSpPr>
          <p:cNvPr id="22" name="Google Shape;22;p25"/>
          <p:cNvSpPr txBox="1">
            <a:spLocks noGrp="1"/>
          </p:cNvSpPr>
          <p:nvPr>
            <p:ph type="title"/>
          </p:nvPr>
        </p:nvSpPr>
        <p:spPr>
          <a:xfrm>
            <a:off x="288651" y="164637"/>
            <a:ext cx="11664000" cy="960107"/>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1"/>
              </a:buClr>
              <a:buSzPts val="2400"/>
              <a:buFont typeface="Verdan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4" name="Google Shape;24;p25"/>
          <p:cNvCxnSpPr/>
          <p:nvPr/>
        </p:nvCxnSpPr>
        <p:spPr>
          <a:xfrm>
            <a:off x="435832" y="6167837"/>
            <a:ext cx="11760629" cy="0"/>
          </a:xfrm>
          <a:prstGeom prst="straightConnector1">
            <a:avLst/>
          </a:prstGeom>
          <a:noFill/>
          <a:ln w="15875" cap="flat" cmpd="sng">
            <a:solidFill>
              <a:srgbClr val="0064A0"/>
            </a:solidFill>
            <a:prstDash val="solid"/>
            <a:round/>
            <a:headEnd type="none" w="sm" len="sm"/>
            <a:tailEnd type="none" w="sm" len="sm"/>
          </a:ln>
        </p:spPr>
      </p:cxnSp>
      <p:cxnSp>
        <p:nvCxnSpPr>
          <p:cNvPr id="25" name="Google Shape;25;p25"/>
          <p:cNvCxnSpPr/>
          <p:nvPr/>
        </p:nvCxnSpPr>
        <p:spPr>
          <a:xfrm>
            <a:off x="438946" y="1259909"/>
            <a:ext cx="11760629" cy="0"/>
          </a:xfrm>
          <a:prstGeom prst="straightConnector1">
            <a:avLst/>
          </a:prstGeom>
          <a:noFill/>
          <a:ln w="15875" cap="flat" cmpd="sng">
            <a:solidFill>
              <a:srgbClr val="0064A0"/>
            </a:solidFill>
            <a:prstDash val="solid"/>
            <a:round/>
            <a:headEnd type="none" w="sm" len="sm"/>
            <a:tailEnd type="none" w="sm" len="sm"/>
          </a:ln>
        </p:spPr>
      </p:cxnSp>
      <p:sp>
        <p:nvSpPr>
          <p:cNvPr id="26" name="Google Shape;26;p25"/>
          <p:cNvSpPr txBox="1"/>
          <p:nvPr/>
        </p:nvSpPr>
        <p:spPr>
          <a:xfrm>
            <a:off x="320400" y="6309679"/>
            <a:ext cx="9208077" cy="328177"/>
          </a:xfrm>
          <a:prstGeom prst="rect">
            <a:avLst/>
          </a:prstGeom>
          <a:noFill/>
          <a:ln>
            <a:noFill/>
          </a:ln>
        </p:spPr>
        <p:txBody>
          <a:bodyPr spcFirstLastPara="1" wrap="square" lIns="121900" tIns="60933" rIns="121900" bIns="60933" anchor="t" anchorCtr="0">
            <a:spAutoFit/>
          </a:bodyPr>
          <a:lstStyle/>
          <a:p>
            <a:pPr marL="0" marR="0" lvl="0" indent="0" algn="l" rtl="0">
              <a:spcBef>
                <a:spcPts val="0"/>
              </a:spcBef>
              <a:spcAft>
                <a:spcPts val="0"/>
              </a:spcAft>
              <a:buNone/>
            </a:pPr>
            <a:r>
              <a:rPr lang="en-US" sz="1333" dirty="0">
                <a:solidFill>
                  <a:schemeClr val="dk1"/>
                </a:solidFill>
                <a:latin typeface="Verdana"/>
                <a:ea typeface="Verdana"/>
                <a:cs typeface="Verdana"/>
                <a:sym typeface="Verdana"/>
              </a:rPr>
              <a:t>       | 17-09-2021 | Ashish Kaul</a:t>
            </a:r>
            <a:endParaRPr sz="1333" dirty="0">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20650552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6"/>
        <p:cNvGrpSpPr/>
        <p:nvPr/>
      </p:nvGrpSpPr>
      <p:grpSpPr>
        <a:xfrm>
          <a:off x="0" y="0"/>
          <a:ext cx="0" cy="0"/>
          <a:chOff x="0" y="0"/>
          <a:chExt cx="0" cy="0"/>
        </a:xfrm>
      </p:grpSpPr>
      <p:sp>
        <p:nvSpPr>
          <p:cNvPr id="57" name="Google Shape;57;p3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spcBef>
                <a:spcPts val="0"/>
              </a:spcBef>
              <a:spcAft>
                <a:spcPts val="0"/>
              </a:spcAft>
              <a:buClr>
                <a:schemeClr val="dk1"/>
              </a:buClr>
              <a:buSzPts val="4500"/>
              <a:buFont typeface="Verdana"/>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8" name="Google Shape;58;p31"/>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spcBef>
                <a:spcPts val="480"/>
              </a:spcBef>
              <a:spcAft>
                <a:spcPts val="0"/>
              </a:spcAft>
              <a:buSzPts val="1800"/>
              <a:buNone/>
              <a:defRPr sz="2400"/>
            </a:lvl1pPr>
            <a:lvl2pPr lvl="1" algn="ctr">
              <a:spcBef>
                <a:spcPts val="512"/>
              </a:spcBef>
              <a:spcAft>
                <a:spcPts val="0"/>
              </a:spcAft>
              <a:buSzPts val="1500"/>
              <a:buNone/>
              <a:defRPr sz="2000"/>
            </a:lvl2pPr>
            <a:lvl3pPr lvl="2" algn="ctr">
              <a:spcBef>
                <a:spcPts val="360"/>
              </a:spcBef>
              <a:spcAft>
                <a:spcPts val="0"/>
              </a:spcAft>
              <a:buSzPts val="1350"/>
              <a:buNone/>
              <a:defRPr sz="1800"/>
            </a:lvl3pPr>
            <a:lvl4pPr lvl="3" algn="ctr">
              <a:spcBef>
                <a:spcPts val="320"/>
              </a:spcBef>
              <a:spcAft>
                <a:spcPts val="0"/>
              </a:spcAft>
              <a:buSzPts val="1200"/>
              <a:buNone/>
              <a:defRPr sz="1600"/>
            </a:lvl4pPr>
            <a:lvl5pPr lvl="4" algn="ctr">
              <a:spcBef>
                <a:spcPts val="320"/>
              </a:spcBef>
              <a:spcAft>
                <a:spcPts val="0"/>
              </a:spcAft>
              <a:buSzPts val="1200"/>
              <a:buNone/>
              <a:defRPr sz="1600"/>
            </a:lvl5pPr>
            <a:lvl6pPr lvl="5" algn="ctr">
              <a:spcBef>
                <a:spcPts val="320"/>
              </a:spcBef>
              <a:spcAft>
                <a:spcPts val="0"/>
              </a:spcAft>
              <a:buClr>
                <a:schemeClr val="dk1"/>
              </a:buClr>
              <a:buSzPts val="1200"/>
              <a:buNone/>
              <a:defRPr sz="1600"/>
            </a:lvl6pPr>
            <a:lvl7pPr lvl="6" algn="ctr">
              <a:spcBef>
                <a:spcPts val="320"/>
              </a:spcBef>
              <a:spcAft>
                <a:spcPts val="0"/>
              </a:spcAft>
              <a:buClr>
                <a:schemeClr val="dk1"/>
              </a:buClr>
              <a:buSzPts val="1200"/>
              <a:buNone/>
              <a:defRPr sz="1600"/>
            </a:lvl7pPr>
            <a:lvl8pPr lvl="7" algn="ctr">
              <a:spcBef>
                <a:spcPts val="320"/>
              </a:spcBef>
              <a:spcAft>
                <a:spcPts val="0"/>
              </a:spcAft>
              <a:buClr>
                <a:schemeClr val="dk1"/>
              </a:buClr>
              <a:buSzPts val="1200"/>
              <a:buNone/>
              <a:defRPr sz="1600"/>
            </a:lvl8pPr>
            <a:lvl9pPr lvl="8" algn="ctr">
              <a:spcBef>
                <a:spcPts val="320"/>
              </a:spcBef>
              <a:spcAft>
                <a:spcPts val="0"/>
              </a:spcAft>
              <a:buClr>
                <a:schemeClr val="dk1"/>
              </a:buClr>
              <a:buSzPts val="1200"/>
              <a:buNone/>
              <a:defRPr sz="1600"/>
            </a:lvl9pPr>
          </a:lstStyle>
          <a:p>
            <a:endParaRPr dirty="0"/>
          </a:p>
        </p:txBody>
      </p:sp>
      <p:sp>
        <p:nvSpPr>
          <p:cNvPr id="59" name="Google Shape;59;p31"/>
          <p:cNvSpPr txBox="1">
            <a:spLocks noGrp="1"/>
          </p:cNvSpPr>
          <p:nvPr>
            <p:ph type="dt" idx="10"/>
          </p:nvPr>
        </p:nvSpPr>
        <p:spPr>
          <a:xfrm>
            <a:off x="0" y="0"/>
            <a:ext cx="4000000" cy="4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400">
                <a:solidFill>
                  <a:schemeClr val="dk1"/>
                </a:solidFill>
                <a:latin typeface="Verdana"/>
                <a:ea typeface="Verdana"/>
                <a:cs typeface="Verdana"/>
                <a:sym typeface="Verdana"/>
              </a:defRPr>
            </a:lvl1pPr>
            <a:lvl2pPr marR="0" lvl="1"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9pPr>
          </a:lstStyle>
          <a:p>
            <a:endParaRPr/>
          </a:p>
        </p:txBody>
      </p:sp>
      <p:sp>
        <p:nvSpPr>
          <p:cNvPr id="60" name="Google Shape;60;p31"/>
          <p:cNvSpPr txBox="1">
            <a:spLocks noGrp="1"/>
          </p:cNvSpPr>
          <p:nvPr>
            <p:ph type="ftr" idx="11"/>
          </p:nvPr>
        </p:nvSpPr>
        <p:spPr>
          <a:xfrm>
            <a:off x="0" y="0"/>
            <a:ext cx="4000000" cy="4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400">
                <a:solidFill>
                  <a:schemeClr val="dk1"/>
                </a:solidFill>
                <a:latin typeface="Verdana"/>
                <a:ea typeface="Verdana"/>
                <a:cs typeface="Verdana"/>
                <a:sym typeface="Verdana"/>
              </a:defRPr>
            </a:lvl1pPr>
            <a:lvl2pPr marR="0" lvl="1"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400" b="0" i="0" u="none" strike="noStrike" cap="none">
                <a:solidFill>
                  <a:schemeClr val="dk1"/>
                </a:solidFill>
                <a:latin typeface="Verdana"/>
                <a:ea typeface="Verdana"/>
                <a:cs typeface="Verdana"/>
                <a:sym typeface="Verdana"/>
              </a:defRPr>
            </a:lvl9pPr>
          </a:lstStyle>
          <a:p>
            <a:endParaRPr/>
          </a:p>
        </p:txBody>
      </p:sp>
      <p:sp>
        <p:nvSpPr>
          <p:cNvPr id="61" name="Google Shape;61;p31"/>
          <p:cNvSpPr txBox="1">
            <a:spLocks noGrp="1"/>
          </p:cNvSpPr>
          <p:nvPr>
            <p:ph type="sldNum" idx="12"/>
          </p:nvPr>
        </p:nvSpPr>
        <p:spPr>
          <a:xfrm>
            <a:off x="320400" y="6326136"/>
            <a:ext cx="591024" cy="288033"/>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2570824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4FFE52CB-A5C1-42B8-B226-A7E99CA7F9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14" t="17188" r="1227" b="-36"/>
          <a:stretch/>
        </p:blipFill>
        <p:spPr bwMode="ltGray">
          <a:xfrm flipH="1">
            <a:off x="0" y="944"/>
            <a:ext cx="12192000" cy="6860032"/>
          </a:xfrm>
          <a:prstGeom prst="rect">
            <a:avLst/>
          </a:prstGeom>
        </p:spPr>
      </p:pic>
      <p:sp>
        <p:nvSpPr>
          <p:cNvPr id="20" name="Rectangle 19">
            <a:extLst>
              <a:ext uri="{FF2B5EF4-FFF2-40B4-BE49-F238E27FC236}">
                <a16:creationId xmlns:a16="http://schemas.microsoft.com/office/drawing/2014/main" xmlns="" id="{C883B4EA-D053-4E5C-84C3-EE72BC24E22C}"/>
              </a:ext>
            </a:extLst>
          </p:cNvPr>
          <p:cNvSpPr/>
          <p:nvPr userDrawn="1"/>
        </p:nvSpPr>
        <p:spPr bwMode="white">
          <a:xfrm>
            <a:off x="0"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xmlns="" id="{50A620EA-D7F6-457A-9F84-F5DC18B217C6}"/>
              </a:ext>
            </a:extLst>
          </p:cNvPr>
          <p:cNvSpPr>
            <a:spLocks noGrp="1"/>
          </p:cNvSpPr>
          <p:nvPr>
            <p:ph type="ctrTitle" hasCustomPrompt="1"/>
          </p:nvPr>
        </p:nvSpPr>
        <p:spPr bwMode="invGray">
          <a:xfrm>
            <a:off x="4469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xmlns=""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9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xmlns=""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847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xmlns=""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35551" y="1137677"/>
            <a:ext cx="2555267" cy="6008579"/>
          </a:xfrm>
          <a:prstGeom prst="rect">
            <a:avLst/>
          </a:prstGeom>
        </p:spPr>
      </p:pic>
      <p:sp>
        <p:nvSpPr>
          <p:cNvPr id="3" name="Text Placeholder 2">
            <a:extLst>
              <a:ext uri="{FF2B5EF4-FFF2-40B4-BE49-F238E27FC236}">
                <a16:creationId xmlns:a16="http://schemas.microsoft.com/office/drawing/2014/main" xmlns="" id="{D19AEC72-27C4-4556-93EC-C7570CE2148B}"/>
              </a:ext>
            </a:extLst>
          </p:cNvPr>
          <p:cNvSpPr>
            <a:spLocks noGrp="1"/>
          </p:cNvSpPr>
          <p:nvPr>
            <p:ph type="body" sz="quarter" idx="10" hasCustomPrompt="1"/>
          </p:nvPr>
        </p:nvSpPr>
        <p:spPr>
          <a:xfrm>
            <a:off x="446757"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xmlns=""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xmlns=""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xmlns=""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xmlns=""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xmlns=""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xmlns=""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xmlns=""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xmlns=""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xmlns=""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xmlns=""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xmlns=""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GB"/>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xmlns="" id="{873884F3-4760-488E-A25C-0D285C88A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xmlns=""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xmlns=""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01827298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endParaRPr lang="de-DE" dirty="0"/>
          </a:p>
        </p:txBody>
      </p:sp>
    </p:spTree>
    <p:extLst>
      <p:ext uri="{BB962C8B-B14F-4D97-AF65-F5344CB8AC3E}">
        <p14:creationId xmlns:p14="http://schemas.microsoft.com/office/powerpoint/2010/main" val="685760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xmlns=""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xmlns=""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1" name="Title 10">
            <a:extLst>
              <a:ext uri="{FF2B5EF4-FFF2-40B4-BE49-F238E27FC236}">
                <a16:creationId xmlns:a16="http://schemas.microsoft.com/office/drawing/2014/main" xmlns="" id="{006B5C2B-B0BF-4136-9EC7-0E7F54D1D264}"/>
              </a:ext>
            </a:extLst>
          </p:cNvPr>
          <p:cNvSpPr>
            <a:spLocks noGrp="1"/>
          </p:cNvSpPr>
          <p:nvPr>
            <p:ph type="title"/>
          </p:nvPr>
        </p:nvSpPr>
        <p:spPr/>
        <p:txBody>
          <a:bodyPr/>
          <a:lstStyle/>
          <a:p>
            <a:r>
              <a:rPr lang="en-GB"/>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GB"/>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 name="Title 1">
            <a:extLst>
              <a:ext uri="{FF2B5EF4-FFF2-40B4-BE49-F238E27FC236}">
                <a16:creationId xmlns:a16="http://schemas.microsoft.com/office/drawing/2014/main" xmlns="" id="{D996D1AE-BB05-402A-8454-CE893B60496E}"/>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xmlns="" id="{294515F3-E20E-47CC-8314-0A030AB3D1FD}"/>
              </a:ext>
            </a:extLst>
          </p:cNvPr>
          <p:cNvSpPr>
            <a:spLocks noGrp="1"/>
          </p:cNvSpPr>
          <p:nvPr>
            <p:ph type="title"/>
          </p:nvPr>
        </p:nvSpPr>
        <p:spPr/>
        <p:txBody>
          <a:bodyPr/>
          <a:lstStyle/>
          <a:p>
            <a:r>
              <a:rPr lang="en-GB"/>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30.xml"/><Relationship Id="rId7" Type="http://schemas.openxmlformats.org/officeDocument/2006/relationships/tags" Target="../tags/tag1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31" imgW="270" imgH="270" progId="TCLayout.ActiveDocument.1">
                  <p:embed/>
                </p:oleObj>
              </mc:Choice>
              <mc:Fallback>
                <p:oleObj name="think-cell Slide" r:id="rId31" imgW="270" imgH="270" progId="TCLayout.ActiveDocument.1">
                  <p:embed/>
                  <p:pic>
                    <p:nvPicPr>
                      <p:cNvPr id="21" name="Object 2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xmlns=""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xmlns=""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xmlns=""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xmlns=""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xmlns=""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xmlns=""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xmlns=""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xmlns=""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xmlns=""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xmlns=""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xmlns=""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xmlns=""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xmlns=""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xmlns=""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xmlns=""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xmlns=""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xmlns=""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xmlns=""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xmlns=""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xmlns=""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xmlns=""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xmlns=""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xmlns=""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xmlns=""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xmlns=""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xmlns=""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xmlns=""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xmlns=""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xmlns=""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xmlns=""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xmlns=""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xmlns=""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xmlns=""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xmlns=""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xmlns=""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xmlns=""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xmlns=""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xmlns=""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xmlns=""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xmlns=""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xmlns=""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xmlns=""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xmlns=""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xmlns=""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xmlns=""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xmlns=""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xmlns=""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xmlns=""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xmlns=""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xmlns=""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xmlns=""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xmlns=""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xmlns=""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xmlns=""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xmlns=""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62" r:id="rId2"/>
    <p:sldLayoutId id="2147483955" r:id="rId3"/>
    <p:sldLayoutId id="2147483956" r:id="rId4"/>
    <p:sldLayoutId id="2147483900" r:id="rId5"/>
    <p:sldLayoutId id="2147483901" r:id="rId6"/>
    <p:sldLayoutId id="2147483960" r:id="rId7"/>
    <p:sldLayoutId id="2147483902" r:id="rId8"/>
    <p:sldLayoutId id="2147483903" r:id="rId9"/>
    <p:sldLayoutId id="2147483949" r:id="rId10"/>
    <p:sldLayoutId id="2147483905" r:id="rId11"/>
    <p:sldLayoutId id="2147483945" r:id="rId12"/>
    <p:sldLayoutId id="2147483948" r:id="rId13"/>
    <p:sldLayoutId id="2147483954" r:id="rId14"/>
    <p:sldLayoutId id="2147483930" r:id="rId15"/>
    <p:sldLayoutId id="2147483931" r:id="rId16"/>
    <p:sldLayoutId id="2147483933" r:id="rId17"/>
    <p:sldLayoutId id="2147483961" r:id="rId18"/>
    <p:sldLayoutId id="2147483958" r:id="rId19"/>
    <p:sldLayoutId id="2147483959" r:id="rId20"/>
    <p:sldLayoutId id="2147483918" r:id="rId21"/>
    <p:sldLayoutId id="2147483922" r:id="rId22"/>
    <p:sldLayoutId id="2147483950" r:id="rId23"/>
    <p:sldLayoutId id="2147483964" r:id="rId24"/>
    <p:sldLayoutId id="2147483965" r:id="rId25"/>
    <p:sldLayoutId id="2147483966" r:id="rId26"/>
    <p:sldLayoutId id="2147483967"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xmlns=""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xmlns=""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xmlns=""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xmlns=""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xmlns=""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xmlns=""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xmlns=""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xmlns=""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xmlns=""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xmlns=""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xmlns=""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xmlns=""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xmlns=""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xmlns=""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xmlns=""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xmlns=""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xmlns=""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xmlns=""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xmlns=""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xmlns=""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xmlns=""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xmlns=""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xmlns=""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xmlns=""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xmlns=""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xmlns=""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xmlns=""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xmlns=""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xmlns=""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xmlns=""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xmlns=""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xmlns=""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xmlns=""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xmlns=""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xmlns=""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xmlns=""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xmlns=""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xmlns=""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xmlns=""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xmlns=""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xmlns=""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xmlns=""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xmlns=""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xmlns=""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xmlns=""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xmlns=""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xmlns=""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27" r:id="rId2"/>
    <p:sldLayoutId id="2147483963" r:id="rId3"/>
    <p:sldLayoutId id="2147483968" r:id="rId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8.png"/><Relationship Id="rId12" Type="http://schemas.openxmlformats.org/officeDocument/2006/relationships/image" Target="../media/image44.png"/><Relationship Id="rId2" Type="http://schemas.openxmlformats.org/officeDocument/2006/relationships/image" Target="../media/image34.png"/><Relationship Id="rId1" Type="http://schemas.openxmlformats.org/officeDocument/2006/relationships/slideLayout" Target="../slideLayouts/slideLayout6.xml"/><Relationship Id="rId6" Type="http://schemas.openxmlformats.org/officeDocument/2006/relationships/image" Target="../media/image39.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slide" Target="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39.png"/><Relationship Id="rId21" Type="http://schemas.openxmlformats.org/officeDocument/2006/relationships/comments" Target="../comments/comment1.xml"/><Relationship Id="rId7" Type="http://schemas.openxmlformats.org/officeDocument/2006/relationships/image" Target="../media/image48.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notesSlide" Target="../notesSlides/notesSlide1.xml"/><Relationship Id="rId16" Type="http://schemas.openxmlformats.org/officeDocument/2006/relationships/image" Target="../media/image56.png"/><Relationship Id="rId20" Type="http://schemas.openxmlformats.org/officeDocument/2006/relationships/image" Target="../media/image40.png"/><Relationship Id="rId1" Type="http://schemas.openxmlformats.org/officeDocument/2006/relationships/slideLayout" Target="../slideLayouts/slideLayout25.xml"/><Relationship Id="rId6" Type="http://schemas.openxmlformats.org/officeDocument/2006/relationships/image" Target="../media/image47.png"/><Relationship Id="rId11" Type="http://schemas.openxmlformats.org/officeDocument/2006/relationships/image" Target="../media/image51.png"/><Relationship Id="rId5" Type="http://schemas.openxmlformats.org/officeDocument/2006/relationships/image" Target="../media/image38.png"/><Relationship Id="rId15" Type="http://schemas.openxmlformats.org/officeDocument/2006/relationships/image" Target="../media/image55.gif"/><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6.png"/><Relationship Id="rId9" Type="http://schemas.openxmlformats.org/officeDocument/2006/relationships/image" Target="../media/image49.png"/><Relationship Id="rId14" Type="http://schemas.openxmlformats.org/officeDocument/2006/relationships/image" Target="../media/image5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65.png"/></Relationships>
</file>

<file path=ppt/slides/_rels/slide15.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3.png"/><Relationship Id="rId18" Type="http://schemas.openxmlformats.org/officeDocument/2006/relationships/image" Target="../media/image62.png"/><Relationship Id="rId26" Type="http://schemas.openxmlformats.org/officeDocument/2006/relationships/image" Target="../media/image81.png"/><Relationship Id="rId3" Type="http://schemas.openxmlformats.org/officeDocument/2006/relationships/image" Target="../media/image66.png"/><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61.png"/><Relationship Id="rId17" Type="http://schemas.openxmlformats.org/officeDocument/2006/relationships/image" Target="../media/image76.png"/><Relationship Id="rId25" Type="http://schemas.openxmlformats.org/officeDocument/2006/relationships/image" Target="../media/image48.png"/><Relationship Id="rId2" Type="http://schemas.openxmlformats.org/officeDocument/2006/relationships/notesSlide" Target="../notesSlides/notesSlide4.xml"/><Relationship Id="rId16" Type="http://schemas.openxmlformats.org/officeDocument/2006/relationships/image" Target="../media/image34.png"/><Relationship Id="rId20" Type="http://schemas.openxmlformats.org/officeDocument/2006/relationships/image" Target="../media/image77.png"/><Relationship Id="rId29" Type="http://schemas.openxmlformats.org/officeDocument/2006/relationships/image" Target="../media/image84.png"/><Relationship Id="rId1" Type="http://schemas.openxmlformats.org/officeDocument/2006/relationships/slideLayout" Target="../slideLayouts/slideLayout25.xml"/><Relationship Id="rId6" Type="http://schemas.openxmlformats.org/officeDocument/2006/relationships/image" Target="../media/image69.png"/><Relationship Id="rId11" Type="http://schemas.openxmlformats.org/officeDocument/2006/relationships/image" Target="../media/image72.png"/><Relationship Id="rId24" Type="http://schemas.openxmlformats.org/officeDocument/2006/relationships/image" Target="../media/image80.png"/><Relationship Id="rId5" Type="http://schemas.openxmlformats.org/officeDocument/2006/relationships/image" Target="../media/image68.png"/><Relationship Id="rId15" Type="http://schemas.openxmlformats.org/officeDocument/2006/relationships/image" Target="../media/image75.png"/><Relationship Id="rId23" Type="http://schemas.openxmlformats.org/officeDocument/2006/relationships/image" Target="../media/image79.png"/><Relationship Id="rId28" Type="http://schemas.openxmlformats.org/officeDocument/2006/relationships/image" Target="../media/image83.png"/><Relationship Id="rId10" Type="http://schemas.openxmlformats.org/officeDocument/2006/relationships/image" Target="../media/image71.png"/><Relationship Id="rId19" Type="http://schemas.openxmlformats.org/officeDocument/2006/relationships/image" Target="../media/image63.png"/><Relationship Id="rId31" Type="http://schemas.openxmlformats.org/officeDocument/2006/relationships/image" Target="../media/image40.png"/><Relationship Id="rId4" Type="http://schemas.openxmlformats.org/officeDocument/2006/relationships/image" Target="../media/image67.png"/><Relationship Id="rId9" Type="http://schemas.openxmlformats.org/officeDocument/2006/relationships/image" Target="../media/image47.png"/><Relationship Id="rId14" Type="http://schemas.openxmlformats.org/officeDocument/2006/relationships/image" Target="../media/image74.png"/><Relationship Id="rId22" Type="http://schemas.openxmlformats.org/officeDocument/2006/relationships/image" Target="../media/image78.png"/><Relationship Id="rId27" Type="http://schemas.openxmlformats.org/officeDocument/2006/relationships/image" Target="../media/image82.png"/><Relationship Id="rId30" Type="http://schemas.openxmlformats.org/officeDocument/2006/relationships/image" Target="../media/image53.png"/></Relationships>
</file>

<file path=ppt/slides/_rels/slide16.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4.png"/><Relationship Id="rId18" Type="http://schemas.openxmlformats.org/officeDocument/2006/relationships/image" Target="../media/image77.png"/><Relationship Id="rId26" Type="http://schemas.openxmlformats.org/officeDocument/2006/relationships/image" Target="../media/image88.png"/><Relationship Id="rId3" Type="http://schemas.openxmlformats.org/officeDocument/2006/relationships/image" Target="../media/image85.png"/><Relationship Id="rId21" Type="http://schemas.openxmlformats.org/officeDocument/2006/relationships/image" Target="../media/image62.png"/><Relationship Id="rId7" Type="http://schemas.openxmlformats.org/officeDocument/2006/relationships/image" Target="../media/image50.png"/><Relationship Id="rId12" Type="http://schemas.openxmlformats.org/officeDocument/2006/relationships/image" Target="../media/image73.png"/><Relationship Id="rId17" Type="http://schemas.openxmlformats.org/officeDocument/2006/relationships/image" Target="../media/image78.png"/><Relationship Id="rId25" Type="http://schemas.openxmlformats.org/officeDocument/2006/relationships/image" Target="../media/image40.png"/><Relationship Id="rId2" Type="http://schemas.openxmlformats.org/officeDocument/2006/relationships/notesSlide" Target="../notesSlides/notesSlide5.xml"/><Relationship Id="rId16" Type="http://schemas.openxmlformats.org/officeDocument/2006/relationships/image" Target="../media/image76.png"/><Relationship Id="rId20" Type="http://schemas.openxmlformats.org/officeDocument/2006/relationships/image" Target="../media/image80.png"/><Relationship Id="rId29" Type="http://schemas.openxmlformats.org/officeDocument/2006/relationships/image" Target="../media/image58.png"/><Relationship Id="rId1" Type="http://schemas.openxmlformats.org/officeDocument/2006/relationships/slideLayout" Target="../slideLayouts/slideLayout25.xml"/><Relationship Id="rId6" Type="http://schemas.openxmlformats.org/officeDocument/2006/relationships/image" Target="../media/image69.png"/><Relationship Id="rId11" Type="http://schemas.openxmlformats.org/officeDocument/2006/relationships/image" Target="../media/image86.png"/><Relationship Id="rId24" Type="http://schemas.openxmlformats.org/officeDocument/2006/relationships/image" Target="../media/image87.png"/><Relationship Id="rId32" Type="http://schemas.openxmlformats.org/officeDocument/2006/relationships/image" Target="../media/image89.png"/><Relationship Id="rId5" Type="http://schemas.openxmlformats.org/officeDocument/2006/relationships/image" Target="../media/image67.png"/><Relationship Id="rId15" Type="http://schemas.openxmlformats.org/officeDocument/2006/relationships/image" Target="../media/image34.png"/><Relationship Id="rId23" Type="http://schemas.openxmlformats.org/officeDocument/2006/relationships/image" Target="../media/image48.png"/><Relationship Id="rId28" Type="http://schemas.openxmlformats.org/officeDocument/2006/relationships/image" Target="../media/image57.png"/><Relationship Id="rId10" Type="http://schemas.openxmlformats.org/officeDocument/2006/relationships/image" Target="../media/image71.png"/><Relationship Id="rId19" Type="http://schemas.openxmlformats.org/officeDocument/2006/relationships/image" Target="../media/image79.png"/><Relationship Id="rId31" Type="http://schemas.openxmlformats.org/officeDocument/2006/relationships/image" Target="../media/image53.png"/><Relationship Id="rId4" Type="http://schemas.openxmlformats.org/officeDocument/2006/relationships/image" Target="../media/image66.png"/><Relationship Id="rId9" Type="http://schemas.openxmlformats.org/officeDocument/2006/relationships/image" Target="../media/image47.png"/><Relationship Id="rId14" Type="http://schemas.openxmlformats.org/officeDocument/2006/relationships/image" Target="../media/image75.png"/><Relationship Id="rId22" Type="http://schemas.openxmlformats.org/officeDocument/2006/relationships/image" Target="../media/image63.png"/><Relationship Id="rId27" Type="http://schemas.openxmlformats.org/officeDocument/2006/relationships/image" Target="../media/image59.png"/><Relationship Id="rId30" Type="http://schemas.openxmlformats.org/officeDocument/2006/relationships/slide" Target="slide17.xml"/></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8.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Layout" Target="../slideLayouts/slideLayout29.xml"/><Relationship Id="rId5" Type="http://schemas.openxmlformats.org/officeDocument/2006/relationships/image" Target="../media/image25.png"/><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slide" Target="slide10.xml"/><Relationship Id="rId1" Type="http://schemas.openxmlformats.org/officeDocument/2006/relationships/slideLayout" Target="../slideLayouts/slideLayout1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slide" Target="slide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0"/>
          </p:nvPr>
        </p:nvPicPr>
        <p:blipFill>
          <a:blip r:embed="rId2" cstate="hqprint">
            <a:extLst>
              <a:ext uri="{28A0092B-C50C-407E-A947-70E740481C1C}">
                <a14:useLocalDpi xmlns:a14="http://schemas.microsoft.com/office/drawing/2010/main" val="0"/>
              </a:ext>
            </a:extLst>
          </a:blip>
          <a:srcRect t="7813" b="7813"/>
          <a:stretch>
            <a:fillRect/>
          </a:stretch>
        </p:blipFill>
        <p:spPr/>
      </p:pic>
      <p:sp>
        <p:nvSpPr>
          <p:cNvPr id="4" name="Subtitle 3"/>
          <p:cNvSpPr>
            <a:spLocks noGrp="1"/>
          </p:cNvSpPr>
          <p:nvPr>
            <p:ph type="subTitle" idx="1"/>
          </p:nvPr>
        </p:nvSpPr>
        <p:spPr/>
        <p:txBody>
          <a:bodyPr/>
          <a:lstStyle/>
          <a:p>
            <a:r>
              <a:rPr lang="en-US" dirty="0"/>
              <a:t>HACKATHON FOR TECH MINDS</a:t>
            </a:r>
            <a:br>
              <a:rPr lang="en-US" dirty="0"/>
            </a:br>
            <a:r>
              <a:rPr lang="en-US" dirty="0"/>
              <a:t>Innovation for better tomorrow</a:t>
            </a:r>
            <a:br>
              <a:rPr lang="en-US" dirty="0"/>
            </a:br>
            <a:r>
              <a:rPr lang="en-US" dirty="0"/>
              <a:t>4</a:t>
            </a:r>
            <a:r>
              <a:rPr lang="en-US" baseline="30000" dirty="0"/>
              <a:t>th</a:t>
            </a:r>
            <a:r>
              <a:rPr lang="en-US" dirty="0"/>
              <a:t>- 8</a:t>
            </a:r>
            <a:r>
              <a:rPr lang="en-US" baseline="30000" dirty="0"/>
              <a:t>th</a:t>
            </a:r>
            <a:r>
              <a:rPr lang="en-US" dirty="0"/>
              <a:t> October </a:t>
            </a:r>
          </a:p>
        </p:txBody>
      </p:sp>
      <p:sp>
        <p:nvSpPr>
          <p:cNvPr id="3" name="Title 2">
            <a:extLst>
              <a:ext uri="{FF2B5EF4-FFF2-40B4-BE49-F238E27FC236}">
                <a16:creationId xmlns:a16="http://schemas.microsoft.com/office/drawing/2014/main" xmlns="" id="{C848BA6D-2927-44B8-ACA6-7A2F73E5B792}"/>
              </a:ext>
            </a:extLst>
          </p:cNvPr>
          <p:cNvSpPr>
            <a:spLocks noGrp="1"/>
          </p:cNvSpPr>
          <p:nvPr>
            <p:ph type="ctrTitle"/>
          </p:nvPr>
        </p:nvSpPr>
        <p:spPr>
          <a:xfrm>
            <a:off x="402933" y="1977142"/>
            <a:ext cx="11386134" cy="830997"/>
          </a:xfrm>
        </p:spPr>
        <p:txBody>
          <a:bodyPr/>
          <a:lstStyle/>
          <a:p>
            <a:r>
              <a:rPr lang="en-GB" dirty="0"/>
              <a:t>TECH4POSITIVE FUTURES</a:t>
            </a:r>
          </a:p>
        </p:txBody>
      </p:sp>
      <p:sp>
        <p:nvSpPr>
          <p:cNvPr id="5" name="Graphic 6">
            <a:extLst>
              <a:ext uri="{FF2B5EF4-FFF2-40B4-BE49-F238E27FC236}">
                <a16:creationId xmlns:a16="http://schemas.microsoft.com/office/drawing/2014/main" xmlns=""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785203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62;p9">
            <a:extLst>
              <a:ext uri="{FF2B5EF4-FFF2-40B4-BE49-F238E27FC236}">
                <a16:creationId xmlns:a16="http://schemas.microsoft.com/office/drawing/2014/main" xmlns="" id="{F256CEBE-0042-4CA5-BFFF-49D0A5DB782B}"/>
              </a:ext>
            </a:extLst>
          </p:cNvPr>
          <p:cNvSpPr/>
          <p:nvPr/>
        </p:nvSpPr>
        <p:spPr>
          <a:xfrm>
            <a:off x="7948251" y="964466"/>
            <a:ext cx="3998039" cy="5449911"/>
          </a:xfrm>
          <a:prstGeom prst="rect">
            <a:avLst/>
          </a:prstGeom>
          <a:noFill/>
          <a:ln w="25400" cap="flat" cmpd="sng">
            <a:solidFill>
              <a:srgbClr val="004A75"/>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lt1"/>
              </a:solidFill>
              <a:latin typeface="Verdana"/>
              <a:ea typeface="Verdana"/>
              <a:cs typeface="Verdana"/>
              <a:sym typeface="Verdana"/>
            </a:endParaRPr>
          </a:p>
        </p:txBody>
      </p:sp>
      <p:pic>
        <p:nvPicPr>
          <p:cNvPr id="5" name="Google Shape;564;p9">
            <a:extLst>
              <a:ext uri="{FF2B5EF4-FFF2-40B4-BE49-F238E27FC236}">
                <a16:creationId xmlns:a16="http://schemas.microsoft.com/office/drawing/2014/main" xmlns="" id="{C8762FBE-6682-400A-8626-C9ED98F43B89}"/>
              </a:ext>
            </a:extLst>
          </p:cNvPr>
          <p:cNvPicPr preferRelativeResize="0"/>
          <p:nvPr/>
        </p:nvPicPr>
        <p:blipFill rotWithShape="1">
          <a:blip r:embed="rId2">
            <a:alphaModFix/>
          </a:blip>
          <a:srcRect/>
          <a:stretch/>
        </p:blipFill>
        <p:spPr>
          <a:xfrm>
            <a:off x="8142151" y="964467"/>
            <a:ext cx="720480" cy="720480"/>
          </a:xfrm>
          <a:prstGeom prst="rect">
            <a:avLst/>
          </a:prstGeom>
          <a:noFill/>
          <a:ln>
            <a:noFill/>
          </a:ln>
        </p:spPr>
      </p:pic>
      <p:sp>
        <p:nvSpPr>
          <p:cNvPr id="6" name="Google Shape;565;p9">
            <a:extLst>
              <a:ext uri="{FF2B5EF4-FFF2-40B4-BE49-F238E27FC236}">
                <a16:creationId xmlns:a16="http://schemas.microsoft.com/office/drawing/2014/main" xmlns="" id="{1D3E95FE-B319-4003-AA39-675A18E5E0E0}"/>
              </a:ext>
            </a:extLst>
          </p:cNvPr>
          <p:cNvSpPr txBox="1"/>
          <p:nvPr/>
        </p:nvSpPr>
        <p:spPr>
          <a:xfrm>
            <a:off x="8930656" y="1052868"/>
            <a:ext cx="2471189" cy="400055"/>
          </a:xfrm>
          <a:prstGeom prst="rect">
            <a:avLst/>
          </a:prstGeom>
          <a:noFill/>
          <a:ln>
            <a:noFill/>
          </a:ln>
        </p:spPr>
        <p:txBody>
          <a:bodyPr spcFirstLastPara="1" wrap="square" lIns="121900" tIns="60933" rIns="121900" bIns="60933" anchor="t" anchorCtr="0">
            <a:spAutoFit/>
          </a:bodyPr>
          <a:lstStyle/>
          <a:p>
            <a:r>
              <a:rPr lang="en-US" dirty="0">
                <a:solidFill>
                  <a:schemeClr val="dk1"/>
                </a:solidFill>
                <a:latin typeface="Verdana"/>
                <a:ea typeface="Verdana"/>
                <a:cs typeface="Verdana"/>
                <a:sym typeface="Verdana"/>
              </a:rPr>
              <a:t>Interview Schedule</a:t>
            </a:r>
            <a:endParaRPr sz="2400" dirty="0"/>
          </a:p>
        </p:txBody>
      </p:sp>
      <p:pic>
        <p:nvPicPr>
          <p:cNvPr id="7" name="Google Shape;567;p9" descr="Heart">
            <a:hlinkClick r:id="" action="ppaction://hlinkshowjump?jump=nextslide"/>
            <a:extLst>
              <a:ext uri="{FF2B5EF4-FFF2-40B4-BE49-F238E27FC236}">
                <a16:creationId xmlns:a16="http://schemas.microsoft.com/office/drawing/2014/main" xmlns="" id="{5C43254A-2E0D-456A-9E0C-6BEE1E53FD09}"/>
              </a:ext>
            </a:extLst>
          </p:cNvPr>
          <p:cNvPicPr preferRelativeResize="0"/>
          <p:nvPr/>
        </p:nvPicPr>
        <p:blipFill rotWithShape="1">
          <a:blip r:embed="rId3">
            <a:alphaModFix/>
          </a:blip>
          <a:srcRect/>
          <a:stretch/>
        </p:blipFill>
        <p:spPr>
          <a:xfrm>
            <a:off x="7962317" y="2075900"/>
            <a:ext cx="914400" cy="914400"/>
          </a:xfrm>
          <a:prstGeom prst="rect">
            <a:avLst/>
          </a:prstGeom>
          <a:noFill/>
          <a:ln>
            <a:noFill/>
          </a:ln>
        </p:spPr>
      </p:pic>
      <p:pic>
        <p:nvPicPr>
          <p:cNvPr id="8" name="Google Shape;570;p9">
            <a:extLst>
              <a:ext uri="{FF2B5EF4-FFF2-40B4-BE49-F238E27FC236}">
                <a16:creationId xmlns:a16="http://schemas.microsoft.com/office/drawing/2014/main" xmlns="" id="{A0587CE9-2B03-4419-BB40-F4B92E2B7F78}"/>
              </a:ext>
            </a:extLst>
          </p:cNvPr>
          <p:cNvPicPr preferRelativeResize="0"/>
          <p:nvPr/>
        </p:nvPicPr>
        <p:blipFill rotWithShape="1">
          <a:blip r:embed="rId4">
            <a:alphaModFix/>
          </a:blip>
          <a:srcRect/>
          <a:stretch/>
        </p:blipFill>
        <p:spPr>
          <a:xfrm>
            <a:off x="8053006" y="3220016"/>
            <a:ext cx="809625" cy="857251"/>
          </a:xfrm>
          <a:prstGeom prst="rect">
            <a:avLst/>
          </a:prstGeom>
          <a:noFill/>
          <a:ln>
            <a:noFill/>
          </a:ln>
        </p:spPr>
      </p:pic>
      <p:sp>
        <p:nvSpPr>
          <p:cNvPr id="9" name="Google Shape;571;p9">
            <a:extLst>
              <a:ext uri="{FF2B5EF4-FFF2-40B4-BE49-F238E27FC236}">
                <a16:creationId xmlns:a16="http://schemas.microsoft.com/office/drawing/2014/main" xmlns="" id="{5C89E0CE-047E-47E4-B3A8-F72DF8376962}"/>
              </a:ext>
            </a:extLst>
          </p:cNvPr>
          <p:cNvSpPr txBox="1"/>
          <p:nvPr/>
        </p:nvSpPr>
        <p:spPr>
          <a:xfrm>
            <a:off x="9048113" y="3406509"/>
            <a:ext cx="2396969" cy="400055"/>
          </a:xfrm>
          <a:prstGeom prst="rect">
            <a:avLst/>
          </a:prstGeom>
          <a:noFill/>
          <a:ln>
            <a:noFill/>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Sensory Needs</a:t>
            </a:r>
            <a:endParaRPr sz="2400"/>
          </a:p>
        </p:txBody>
      </p:sp>
      <p:sp>
        <p:nvSpPr>
          <p:cNvPr id="10" name="Google Shape;572;p9">
            <a:hlinkClick r:id="" action="ppaction://hlinkshowjump?jump=nextslide"/>
            <a:extLst>
              <a:ext uri="{FF2B5EF4-FFF2-40B4-BE49-F238E27FC236}">
                <a16:creationId xmlns:a16="http://schemas.microsoft.com/office/drawing/2014/main" xmlns="" id="{58A1509B-6A42-43E2-B60B-2931B890D211}"/>
              </a:ext>
            </a:extLst>
          </p:cNvPr>
          <p:cNvSpPr txBox="1"/>
          <p:nvPr/>
        </p:nvSpPr>
        <p:spPr>
          <a:xfrm>
            <a:off x="8991607" y="4504375"/>
            <a:ext cx="2008243" cy="400055"/>
          </a:xfrm>
          <a:prstGeom prst="rect">
            <a:avLst/>
          </a:prstGeom>
          <a:noFill/>
          <a:ln>
            <a:noFill/>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Interview Topic</a:t>
            </a:r>
            <a:endParaRPr sz="2400"/>
          </a:p>
        </p:txBody>
      </p:sp>
      <p:pic>
        <p:nvPicPr>
          <p:cNvPr id="11" name="Google Shape;573;p9" descr="Female Profile">
            <a:extLst>
              <a:ext uri="{FF2B5EF4-FFF2-40B4-BE49-F238E27FC236}">
                <a16:creationId xmlns:a16="http://schemas.microsoft.com/office/drawing/2014/main" xmlns="" id="{63ADDD9A-A710-45EE-98AC-36D43DA9E943}"/>
              </a:ext>
            </a:extLst>
          </p:cNvPr>
          <p:cNvPicPr preferRelativeResize="0"/>
          <p:nvPr/>
        </p:nvPicPr>
        <p:blipFill rotWithShape="1">
          <a:blip r:embed="rId5">
            <a:alphaModFix/>
          </a:blip>
          <a:srcRect/>
          <a:stretch/>
        </p:blipFill>
        <p:spPr>
          <a:xfrm>
            <a:off x="7978829" y="5449019"/>
            <a:ext cx="775268" cy="775268"/>
          </a:xfrm>
          <a:prstGeom prst="rect">
            <a:avLst/>
          </a:prstGeom>
          <a:noFill/>
          <a:ln>
            <a:noFill/>
          </a:ln>
        </p:spPr>
      </p:pic>
      <p:pic>
        <p:nvPicPr>
          <p:cNvPr id="12" name="Google Shape;578;p9">
            <a:extLst>
              <a:ext uri="{FF2B5EF4-FFF2-40B4-BE49-F238E27FC236}">
                <a16:creationId xmlns:a16="http://schemas.microsoft.com/office/drawing/2014/main" xmlns="" id="{8C2CF58E-394B-4338-87D9-396DE7AC3D2B}"/>
              </a:ext>
            </a:extLst>
          </p:cNvPr>
          <p:cNvPicPr preferRelativeResize="0"/>
          <p:nvPr/>
        </p:nvPicPr>
        <p:blipFill rotWithShape="1">
          <a:blip r:embed="rId6">
            <a:alphaModFix/>
          </a:blip>
          <a:srcRect/>
          <a:stretch/>
        </p:blipFill>
        <p:spPr>
          <a:xfrm>
            <a:off x="7998459" y="4248885"/>
            <a:ext cx="763143" cy="993131"/>
          </a:xfrm>
          <a:prstGeom prst="rect">
            <a:avLst/>
          </a:prstGeom>
          <a:noFill/>
          <a:ln>
            <a:noFill/>
          </a:ln>
        </p:spPr>
      </p:pic>
      <p:sp>
        <p:nvSpPr>
          <p:cNvPr id="13" name="Google Shape;579;p9">
            <a:extLst>
              <a:ext uri="{FF2B5EF4-FFF2-40B4-BE49-F238E27FC236}">
                <a16:creationId xmlns:a16="http://schemas.microsoft.com/office/drawing/2014/main" xmlns="" id="{9CEE199B-654A-470E-A12F-6548DBF6A722}"/>
              </a:ext>
            </a:extLst>
          </p:cNvPr>
          <p:cNvSpPr txBox="1"/>
          <p:nvPr/>
        </p:nvSpPr>
        <p:spPr>
          <a:xfrm>
            <a:off x="8730111" y="5502787"/>
            <a:ext cx="2579412" cy="677054"/>
          </a:xfrm>
          <a:prstGeom prst="rect">
            <a:avLst/>
          </a:prstGeom>
          <a:noFill/>
          <a:ln>
            <a:noFill/>
          </a:ln>
        </p:spPr>
        <p:txBody>
          <a:bodyPr spcFirstLastPara="1" wrap="square" lIns="121900" tIns="60933" rIns="121900" bIns="60933" anchor="t" anchorCtr="0">
            <a:spAutoFit/>
          </a:bodyPr>
          <a:lstStyle/>
          <a:p>
            <a:pPr algn="ctr"/>
            <a:r>
              <a:rPr lang="en-US">
                <a:solidFill>
                  <a:schemeClr val="dk1"/>
                </a:solidFill>
                <a:latin typeface="Verdana"/>
                <a:ea typeface="Verdana"/>
                <a:cs typeface="Verdana"/>
                <a:sym typeface="Verdana"/>
              </a:rPr>
              <a:t>Interviewer </a:t>
            </a:r>
            <a:endParaRPr sz="2400"/>
          </a:p>
          <a:p>
            <a:pPr algn="ctr"/>
            <a:r>
              <a:rPr lang="en-US">
                <a:solidFill>
                  <a:schemeClr val="dk1"/>
                </a:solidFill>
                <a:latin typeface="Verdana"/>
                <a:ea typeface="Verdana"/>
                <a:cs typeface="Verdana"/>
                <a:sym typeface="Verdana"/>
              </a:rPr>
              <a:t>Sonali Singh</a:t>
            </a:r>
            <a:endParaRPr sz="2400"/>
          </a:p>
        </p:txBody>
      </p:sp>
      <p:sp>
        <p:nvSpPr>
          <p:cNvPr id="14" name="Google Shape;580;p9">
            <a:extLst>
              <a:ext uri="{FF2B5EF4-FFF2-40B4-BE49-F238E27FC236}">
                <a16:creationId xmlns:a16="http://schemas.microsoft.com/office/drawing/2014/main" xmlns="" id="{911170F2-E210-474C-945F-E8E5D720A02E}"/>
              </a:ext>
            </a:extLst>
          </p:cNvPr>
          <p:cNvSpPr txBox="1"/>
          <p:nvPr/>
        </p:nvSpPr>
        <p:spPr>
          <a:xfrm>
            <a:off x="8795323" y="2322797"/>
            <a:ext cx="3019867" cy="410379"/>
          </a:xfrm>
          <a:prstGeom prst="rect">
            <a:avLst/>
          </a:prstGeom>
          <a:solidFill>
            <a:schemeClr val="lt2"/>
          </a:solidFill>
          <a:ln>
            <a:noFill/>
          </a:ln>
        </p:spPr>
        <p:txBody>
          <a:bodyPr spcFirstLastPara="1" wrap="square" lIns="121900" tIns="60933" rIns="121900" bIns="60933" anchor="t" anchorCtr="0">
            <a:spAutoFit/>
          </a:bodyPr>
          <a:lstStyle/>
          <a:p>
            <a:r>
              <a:rPr lang="en-US" sz="1867" dirty="0">
                <a:solidFill>
                  <a:schemeClr val="dk1"/>
                </a:solidFill>
                <a:latin typeface="Verdana"/>
                <a:ea typeface="Verdana"/>
                <a:cs typeface="Verdana"/>
                <a:sym typeface="Verdana"/>
              </a:rPr>
              <a:t>Interview Preference</a:t>
            </a:r>
            <a:endParaRPr sz="2400" dirty="0"/>
          </a:p>
        </p:txBody>
      </p:sp>
      <p:cxnSp>
        <p:nvCxnSpPr>
          <p:cNvPr id="15" name="Google Shape;563;p9">
            <a:extLst>
              <a:ext uri="{FF2B5EF4-FFF2-40B4-BE49-F238E27FC236}">
                <a16:creationId xmlns:a16="http://schemas.microsoft.com/office/drawing/2014/main" xmlns="" id="{AD374D83-5B92-4721-90F0-EC57F2543AFF}"/>
              </a:ext>
            </a:extLst>
          </p:cNvPr>
          <p:cNvCxnSpPr/>
          <p:nvPr/>
        </p:nvCxnSpPr>
        <p:spPr>
          <a:xfrm>
            <a:off x="7948251" y="1997052"/>
            <a:ext cx="3998039" cy="0"/>
          </a:xfrm>
          <a:prstGeom prst="straightConnector1">
            <a:avLst/>
          </a:prstGeom>
          <a:noFill/>
          <a:ln w="9525" cap="flat" cmpd="sng">
            <a:solidFill>
              <a:srgbClr val="0064A0"/>
            </a:solidFill>
            <a:prstDash val="solid"/>
            <a:round/>
            <a:headEnd type="none" w="sm" len="sm"/>
            <a:tailEnd type="none" w="sm" len="sm"/>
          </a:ln>
        </p:spPr>
      </p:cxnSp>
      <p:cxnSp>
        <p:nvCxnSpPr>
          <p:cNvPr id="17" name="Google Shape;563;p9">
            <a:extLst>
              <a:ext uri="{FF2B5EF4-FFF2-40B4-BE49-F238E27FC236}">
                <a16:creationId xmlns:a16="http://schemas.microsoft.com/office/drawing/2014/main" xmlns="" id="{7C16B8BC-20FE-4C52-BDB8-49ACF0BCC361}"/>
              </a:ext>
            </a:extLst>
          </p:cNvPr>
          <p:cNvCxnSpPr/>
          <p:nvPr/>
        </p:nvCxnSpPr>
        <p:spPr>
          <a:xfrm>
            <a:off x="7924800" y="2971800"/>
            <a:ext cx="3998039" cy="0"/>
          </a:xfrm>
          <a:prstGeom prst="straightConnector1">
            <a:avLst/>
          </a:prstGeom>
          <a:noFill/>
          <a:ln w="9525" cap="flat" cmpd="sng">
            <a:solidFill>
              <a:srgbClr val="0064A0"/>
            </a:solidFill>
            <a:prstDash val="solid"/>
            <a:round/>
            <a:headEnd type="none" w="sm" len="sm"/>
            <a:tailEnd type="none" w="sm" len="sm"/>
          </a:ln>
        </p:spPr>
      </p:cxnSp>
      <p:cxnSp>
        <p:nvCxnSpPr>
          <p:cNvPr id="18" name="Google Shape;568;p9">
            <a:extLst>
              <a:ext uri="{FF2B5EF4-FFF2-40B4-BE49-F238E27FC236}">
                <a16:creationId xmlns:a16="http://schemas.microsoft.com/office/drawing/2014/main" xmlns="" id="{DBE72A07-EB08-49F8-B883-C5900958493B}"/>
              </a:ext>
            </a:extLst>
          </p:cNvPr>
          <p:cNvCxnSpPr/>
          <p:nvPr/>
        </p:nvCxnSpPr>
        <p:spPr>
          <a:xfrm>
            <a:off x="7948251" y="4199077"/>
            <a:ext cx="3998039" cy="0"/>
          </a:xfrm>
          <a:prstGeom prst="straightConnector1">
            <a:avLst/>
          </a:prstGeom>
          <a:noFill/>
          <a:ln w="9525" cap="flat" cmpd="sng">
            <a:solidFill>
              <a:srgbClr val="0064A0"/>
            </a:solidFill>
            <a:prstDash val="solid"/>
            <a:round/>
            <a:headEnd type="none" w="sm" len="sm"/>
            <a:tailEnd type="none" w="sm" len="sm"/>
          </a:ln>
        </p:spPr>
      </p:cxnSp>
      <p:cxnSp>
        <p:nvCxnSpPr>
          <p:cNvPr id="19" name="Google Shape;569;p9">
            <a:extLst>
              <a:ext uri="{FF2B5EF4-FFF2-40B4-BE49-F238E27FC236}">
                <a16:creationId xmlns:a16="http://schemas.microsoft.com/office/drawing/2014/main" xmlns="" id="{735B66CB-1FCC-4C49-8E46-F442B63A7101}"/>
              </a:ext>
            </a:extLst>
          </p:cNvPr>
          <p:cNvCxnSpPr/>
          <p:nvPr/>
        </p:nvCxnSpPr>
        <p:spPr>
          <a:xfrm>
            <a:off x="7948251" y="5320863"/>
            <a:ext cx="3998039" cy="0"/>
          </a:xfrm>
          <a:prstGeom prst="straightConnector1">
            <a:avLst/>
          </a:prstGeom>
          <a:noFill/>
          <a:ln w="9525" cap="flat" cmpd="sng">
            <a:solidFill>
              <a:srgbClr val="0064A0"/>
            </a:solidFill>
            <a:prstDash val="solid"/>
            <a:round/>
            <a:headEnd type="none" w="sm" len="sm"/>
            <a:tailEnd type="none" w="sm" len="sm"/>
          </a:ln>
        </p:spPr>
      </p:cxnSp>
      <p:sp>
        <p:nvSpPr>
          <p:cNvPr id="22" name="TextBox 21">
            <a:extLst>
              <a:ext uri="{FF2B5EF4-FFF2-40B4-BE49-F238E27FC236}">
                <a16:creationId xmlns:a16="http://schemas.microsoft.com/office/drawing/2014/main" xmlns="" id="{E8C67CAA-DB38-45BF-87E7-773F34A70C7D}"/>
              </a:ext>
            </a:extLst>
          </p:cNvPr>
          <p:cNvSpPr txBox="1"/>
          <p:nvPr/>
        </p:nvSpPr>
        <p:spPr>
          <a:xfrm>
            <a:off x="1524000" y="289837"/>
            <a:ext cx="7124426" cy="461665"/>
          </a:xfrm>
          <a:prstGeom prst="rect">
            <a:avLst/>
          </a:prstGeom>
          <a:noFill/>
        </p:spPr>
        <p:txBody>
          <a:bodyPr wrap="square">
            <a:spAutoFit/>
          </a:bodyPr>
          <a:lstStyle/>
          <a:p>
            <a:r>
              <a:rPr lang="en-US" sz="2400" b="1" dirty="0">
                <a:solidFill>
                  <a:schemeClr val="dk1"/>
                </a:solidFill>
                <a:latin typeface="Verdana"/>
                <a:ea typeface="Verdana"/>
                <a:cs typeface="Verdana"/>
                <a:sym typeface="Verdana"/>
              </a:rPr>
              <a:t>Autism Scenario – Interview Process</a:t>
            </a:r>
            <a:endParaRPr lang="en-IN" sz="2400" dirty="0"/>
          </a:p>
        </p:txBody>
      </p:sp>
    </p:spTree>
    <p:extLst>
      <p:ext uri="{BB962C8B-B14F-4D97-AF65-F5344CB8AC3E}">
        <p14:creationId xmlns:p14="http://schemas.microsoft.com/office/powerpoint/2010/main" val="1278154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endParaRPr lang="en-US"/>
          </a:p>
        </p:txBody>
      </p:sp>
      <p:sp>
        <p:nvSpPr>
          <p:cNvPr id="5" name="Google Shape;562;p9"/>
          <p:cNvSpPr/>
          <p:nvPr/>
        </p:nvSpPr>
        <p:spPr>
          <a:xfrm>
            <a:off x="7948251" y="964466"/>
            <a:ext cx="3998039" cy="5449911"/>
          </a:xfrm>
          <a:prstGeom prst="rect">
            <a:avLst/>
          </a:prstGeom>
          <a:noFill/>
          <a:ln w="25400" cap="flat" cmpd="sng">
            <a:solidFill>
              <a:srgbClr val="004A75"/>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lt1"/>
              </a:solidFill>
              <a:latin typeface="Verdana"/>
              <a:ea typeface="Verdana"/>
              <a:cs typeface="Verdana"/>
              <a:sym typeface="Verdana"/>
            </a:endParaRPr>
          </a:p>
        </p:txBody>
      </p:sp>
      <p:cxnSp>
        <p:nvCxnSpPr>
          <p:cNvPr id="6" name="Google Shape;563;p9"/>
          <p:cNvCxnSpPr/>
          <p:nvPr/>
        </p:nvCxnSpPr>
        <p:spPr>
          <a:xfrm>
            <a:off x="7948251" y="1997052"/>
            <a:ext cx="3998039" cy="0"/>
          </a:xfrm>
          <a:prstGeom prst="straightConnector1">
            <a:avLst/>
          </a:prstGeom>
          <a:noFill/>
          <a:ln w="9525" cap="flat" cmpd="sng">
            <a:solidFill>
              <a:srgbClr val="0064A0"/>
            </a:solidFill>
            <a:prstDash val="solid"/>
            <a:round/>
            <a:headEnd type="none" w="sm" len="sm"/>
            <a:tailEnd type="none" w="sm" len="sm"/>
          </a:ln>
        </p:spPr>
      </p:cxnSp>
      <p:pic>
        <p:nvPicPr>
          <p:cNvPr id="7" name="Google Shape;564;p9"/>
          <p:cNvPicPr preferRelativeResize="0"/>
          <p:nvPr/>
        </p:nvPicPr>
        <p:blipFill rotWithShape="1">
          <a:blip r:embed="rId2">
            <a:alphaModFix/>
          </a:blip>
          <a:srcRect/>
          <a:stretch/>
        </p:blipFill>
        <p:spPr>
          <a:xfrm>
            <a:off x="8142151" y="964467"/>
            <a:ext cx="720480" cy="720480"/>
          </a:xfrm>
          <a:prstGeom prst="rect">
            <a:avLst/>
          </a:prstGeom>
          <a:noFill/>
          <a:ln>
            <a:noFill/>
          </a:ln>
        </p:spPr>
      </p:pic>
      <p:sp>
        <p:nvSpPr>
          <p:cNvPr id="8" name="Google Shape;565;p9"/>
          <p:cNvSpPr txBox="1"/>
          <p:nvPr/>
        </p:nvSpPr>
        <p:spPr>
          <a:xfrm>
            <a:off x="8930656" y="1052868"/>
            <a:ext cx="2471189" cy="400055"/>
          </a:xfrm>
          <a:prstGeom prst="rect">
            <a:avLst/>
          </a:prstGeom>
          <a:noFill/>
          <a:ln>
            <a:noFill/>
          </a:ln>
        </p:spPr>
        <p:txBody>
          <a:bodyPr spcFirstLastPara="1" wrap="square" lIns="121900" tIns="60933" rIns="121900" bIns="60933" anchor="t" anchorCtr="0">
            <a:spAutoFit/>
          </a:bodyPr>
          <a:lstStyle/>
          <a:p>
            <a:r>
              <a:rPr lang="en-US" dirty="0">
                <a:solidFill>
                  <a:schemeClr val="dk1"/>
                </a:solidFill>
                <a:latin typeface="Verdana"/>
                <a:ea typeface="Verdana"/>
                <a:cs typeface="Verdana"/>
                <a:sym typeface="Verdana"/>
              </a:rPr>
              <a:t>Interview Schedule</a:t>
            </a:r>
            <a:endParaRPr sz="2400" dirty="0"/>
          </a:p>
        </p:txBody>
      </p:sp>
      <p:cxnSp>
        <p:nvCxnSpPr>
          <p:cNvPr id="9" name="Google Shape;566;p9"/>
          <p:cNvCxnSpPr/>
          <p:nvPr/>
        </p:nvCxnSpPr>
        <p:spPr>
          <a:xfrm>
            <a:off x="7948251" y="3094403"/>
            <a:ext cx="3998039" cy="0"/>
          </a:xfrm>
          <a:prstGeom prst="straightConnector1">
            <a:avLst/>
          </a:prstGeom>
          <a:noFill/>
          <a:ln w="9525" cap="flat" cmpd="sng">
            <a:solidFill>
              <a:srgbClr val="0064A0"/>
            </a:solidFill>
            <a:prstDash val="solid"/>
            <a:round/>
            <a:headEnd type="none" w="sm" len="sm"/>
            <a:tailEnd type="none" w="sm" len="sm"/>
          </a:ln>
        </p:spPr>
      </p:cxnSp>
      <p:pic>
        <p:nvPicPr>
          <p:cNvPr id="10" name="Google Shape;567;p9" descr="Heart">
            <a:hlinkClick r:id="" action="ppaction://hlinkshowjump?jump=nextslide"/>
          </p:cNvPr>
          <p:cNvPicPr preferRelativeResize="0"/>
          <p:nvPr/>
        </p:nvPicPr>
        <p:blipFill rotWithShape="1">
          <a:blip r:embed="rId3">
            <a:alphaModFix/>
          </a:blip>
          <a:srcRect/>
          <a:stretch/>
        </p:blipFill>
        <p:spPr>
          <a:xfrm>
            <a:off x="7962317" y="2075900"/>
            <a:ext cx="914400" cy="914400"/>
          </a:xfrm>
          <a:prstGeom prst="rect">
            <a:avLst/>
          </a:prstGeom>
          <a:noFill/>
          <a:ln>
            <a:noFill/>
          </a:ln>
        </p:spPr>
      </p:pic>
      <p:cxnSp>
        <p:nvCxnSpPr>
          <p:cNvPr id="11" name="Google Shape;568;p9"/>
          <p:cNvCxnSpPr/>
          <p:nvPr/>
        </p:nvCxnSpPr>
        <p:spPr>
          <a:xfrm>
            <a:off x="7948251" y="4199077"/>
            <a:ext cx="3998039" cy="0"/>
          </a:xfrm>
          <a:prstGeom prst="straightConnector1">
            <a:avLst/>
          </a:prstGeom>
          <a:noFill/>
          <a:ln w="9525" cap="flat" cmpd="sng">
            <a:solidFill>
              <a:srgbClr val="0064A0"/>
            </a:solidFill>
            <a:prstDash val="solid"/>
            <a:round/>
            <a:headEnd type="none" w="sm" len="sm"/>
            <a:tailEnd type="none" w="sm" len="sm"/>
          </a:ln>
        </p:spPr>
      </p:cxnSp>
      <p:cxnSp>
        <p:nvCxnSpPr>
          <p:cNvPr id="12" name="Google Shape;569;p9"/>
          <p:cNvCxnSpPr/>
          <p:nvPr/>
        </p:nvCxnSpPr>
        <p:spPr>
          <a:xfrm>
            <a:off x="7948251" y="5320863"/>
            <a:ext cx="3998039" cy="0"/>
          </a:xfrm>
          <a:prstGeom prst="straightConnector1">
            <a:avLst/>
          </a:prstGeom>
          <a:noFill/>
          <a:ln w="9525" cap="flat" cmpd="sng">
            <a:solidFill>
              <a:srgbClr val="0064A0"/>
            </a:solidFill>
            <a:prstDash val="solid"/>
            <a:round/>
            <a:headEnd type="none" w="sm" len="sm"/>
            <a:tailEnd type="none" w="sm" len="sm"/>
          </a:ln>
        </p:spPr>
      </p:cxnSp>
      <p:pic>
        <p:nvPicPr>
          <p:cNvPr id="13" name="Google Shape;570;p9"/>
          <p:cNvPicPr preferRelativeResize="0"/>
          <p:nvPr/>
        </p:nvPicPr>
        <p:blipFill rotWithShape="1">
          <a:blip r:embed="rId4">
            <a:alphaModFix/>
          </a:blip>
          <a:srcRect/>
          <a:stretch/>
        </p:blipFill>
        <p:spPr>
          <a:xfrm>
            <a:off x="8053006" y="3220016"/>
            <a:ext cx="809625" cy="857251"/>
          </a:xfrm>
          <a:prstGeom prst="rect">
            <a:avLst/>
          </a:prstGeom>
          <a:noFill/>
          <a:ln>
            <a:noFill/>
          </a:ln>
        </p:spPr>
      </p:pic>
      <p:sp>
        <p:nvSpPr>
          <p:cNvPr id="14" name="Google Shape;571;p9"/>
          <p:cNvSpPr txBox="1"/>
          <p:nvPr/>
        </p:nvSpPr>
        <p:spPr>
          <a:xfrm>
            <a:off x="9048113" y="3406509"/>
            <a:ext cx="2396969" cy="400055"/>
          </a:xfrm>
          <a:prstGeom prst="rect">
            <a:avLst/>
          </a:prstGeom>
          <a:noFill/>
          <a:ln>
            <a:noFill/>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Sensory Needs</a:t>
            </a:r>
            <a:endParaRPr sz="2400"/>
          </a:p>
        </p:txBody>
      </p:sp>
      <p:sp>
        <p:nvSpPr>
          <p:cNvPr id="15" name="Google Shape;572;p9">
            <a:hlinkClick r:id="" action="ppaction://hlinkshowjump?jump=nextslide"/>
          </p:cNvPr>
          <p:cNvSpPr txBox="1"/>
          <p:nvPr/>
        </p:nvSpPr>
        <p:spPr>
          <a:xfrm>
            <a:off x="8991607" y="4504375"/>
            <a:ext cx="2008243" cy="400055"/>
          </a:xfrm>
          <a:prstGeom prst="rect">
            <a:avLst/>
          </a:prstGeom>
          <a:noFill/>
          <a:ln>
            <a:noFill/>
          </a:ln>
        </p:spPr>
        <p:txBody>
          <a:bodyPr spcFirstLastPara="1" wrap="square" lIns="121900" tIns="60933" rIns="121900" bIns="60933" anchor="t" anchorCtr="0">
            <a:spAutoFit/>
          </a:bodyPr>
          <a:lstStyle/>
          <a:p>
            <a:r>
              <a:rPr lang="en-US" dirty="0">
                <a:solidFill>
                  <a:schemeClr val="dk1"/>
                </a:solidFill>
                <a:latin typeface="Verdana"/>
                <a:ea typeface="Verdana"/>
                <a:cs typeface="Verdana"/>
                <a:sym typeface="Verdana"/>
              </a:rPr>
              <a:t>Interview Topic</a:t>
            </a:r>
            <a:endParaRPr sz="2400" dirty="0"/>
          </a:p>
        </p:txBody>
      </p:sp>
      <p:pic>
        <p:nvPicPr>
          <p:cNvPr id="16" name="Google Shape;573;p9" descr="Female Profile"/>
          <p:cNvPicPr preferRelativeResize="0"/>
          <p:nvPr/>
        </p:nvPicPr>
        <p:blipFill rotWithShape="1">
          <a:blip r:embed="rId5">
            <a:alphaModFix/>
          </a:blip>
          <a:srcRect/>
          <a:stretch/>
        </p:blipFill>
        <p:spPr>
          <a:xfrm>
            <a:off x="7978829" y="5449019"/>
            <a:ext cx="775268" cy="775268"/>
          </a:xfrm>
          <a:prstGeom prst="rect">
            <a:avLst/>
          </a:prstGeom>
          <a:noFill/>
          <a:ln>
            <a:noFill/>
          </a:ln>
        </p:spPr>
      </p:pic>
      <p:pic>
        <p:nvPicPr>
          <p:cNvPr id="17" name="Google Shape;574;p9" descr="Help"/>
          <p:cNvPicPr preferRelativeResize="0"/>
          <p:nvPr/>
        </p:nvPicPr>
        <p:blipFill rotWithShape="1">
          <a:blip r:embed="rId6">
            <a:alphaModFix/>
          </a:blip>
          <a:srcRect/>
          <a:stretch/>
        </p:blipFill>
        <p:spPr>
          <a:xfrm>
            <a:off x="7242740" y="984395"/>
            <a:ext cx="540661" cy="540661"/>
          </a:xfrm>
          <a:prstGeom prst="rect">
            <a:avLst/>
          </a:prstGeom>
          <a:noFill/>
          <a:ln>
            <a:noFill/>
          </a:ln>
        </p:spPr>
      </p:pic>
      <p:sp>
        <p:nvSpPr>
          <p:cNvPr id="18" name="Google Shape;575;p9"/>
          <p:cNvSpPr txBox="1"/>
          <p:nvPr/>
        </p:nvSpPr>
        <p:spPr>
          <a:xfrm>
            <a:off x="1847979" y="2717043"/>
            <a:ext cx="1681367" cy="492388"/>
          </a:xfrm>
          <a:prstGeom prst="rect">
            <a:avLst/>
          </a:prstGeom>
          <a:noFill/>
          <a:ln>
            <a:noFill/>
          </a:ln>
        </p:spPr>
        <p:txBody>
          <a:bodyPr spcFirstLastPara="1" wrap="square" lIns="121900" tIns="60933" rIns="121900" bIns="60933" anchor="t" anchorCtr="0">
            <a:spAutoFit/>
          </a:bodyPr>
          <a:lstStyle/>
          <a:p>
            <a:r>
              <a:rPr lang="en-US" sz="2400">
                <a:solidFill>
                  <a:schemeClr val="lt1"/>
                </a:solidFill>
                <a:latin typeface="Verdana"/>
                <a:ea typeface="Verdana"/>
                <a:cs typeface="Verdana"/>
                <a:sym typeface="Verdana"/>
              </a:rPr>
              <a:t>Video </a:t>
            </a:r>
            <a:endParaRPr sz="2400"/>
          </a:p>
        </p:txBody>
      </p:sp>
      <p:sp>
        <p:nvSpPr>
          <p:cNvPr id="19" name="Google Shape;576;p9"/>
          <p:cNvSpPr txBox="1"/>
          <p:nvPr/>
        </p:nvSpPr>
        <p:spPr>
          <a:xfrm>
            <a:off x="3550025" y="2661960"/>
            <a:ext cx="1337268" cy="492388"/>
          </a:xfrm>
          <a:prstGeom prst="rect">
            <a:avLst/>
          </a:prstGeom>
          <a:noFill/>
          <a:ln>
            <a:noFill/>
          </a:ln>
        </p:spPr>
        <p:txBody>
          <a:bodyPr spcFirstLastPara="1" wrap="square" lIns="121900" tIns="60933" rIns="121900" bIns="60933" anchor="t" anchorCtr="0">
            <a:spAutoFit/>
          </a:bodyPr>
          <a:lstStyle/>
          <a:p>
            <a:r>
              <a:rPr lang="en-US" sz="2400">
                <a:solidFill>
                  <a:schemeClr val="lt1"/>
                </a:solidFill>
                <a:latin typeface="Verdana"/>
                <a:ea typeface="Verdana"/>
                <a:cs typeface="Verdana"/>
                <a:sym typeface="Verdana"/>
              </a:rPr>
              <a:t>Type</a:t>
            </a:r>
            <a:endParaRPr sz="2400"/>
          </a:p>
        </p:txBody>
      </p:sp>
      <p:sp>
        <p:nvSpPr>
          <p:cNvPr id="20" name="Google Shape;577;p9"/>
          <p:cNvSpPr txBox="1"/>
          <p:nvPr/>
        </p:nvSpPr>
        <p:spPr>
          <a:xfrm>
            <a:off x="2484269" y="3792428"/>
            <a:ext cx="1832548" cy="492388"/>
          </a:xfrm>
          <a:prstGeom prst="rect">
            <a:avLst/>
          </a:prstGeom>
          <a:noFill/>
          <a:ln>
            <a:noFill/>
          </a:ln>
        </p:spPr>
        <p:txBody>
          <a:bodyPr spcFirstLastPara="1" wrap="square" lIns="121900" tIns="60933" rIns="121900" bIns="60933" anchor="t" anchorCtr="0">
            <a:spAutoFit/>
          </a:bodyPr>
          <a:lstStyle/>
          <a:p>
            <a:r>
              <a:rPr lang="en-US" sz="2400">
                <a:solidFill>
                  <a:schemeClr val="lt1"/>
                </a:solidFill>
                <a:latin typeface="Verdana"/>
                <a:ea typeface="Verdana"/>
                <a:cs typeface="Verdana"/>
                <a:sym typeface="Verdana"/>
              </a:rPr>
              <a:t>Project</a:t>
            </a:r>
            <a:endParaRPr sz="2400"/>
          </a:p>
        </p:txBody>
      </p:sp>
      <p:pic>
        <p:nvPicPr>
          <p:cNvPr id="21" name="Google Shape;578;p9"/>
          <p:cNvPicPr preferRelativeResize="0"/>
          <p:nvPr/>
        </p:nvPicPr>
        <p:blipFill rotWithShape="1">
          <a:blip r:embed="rId7">
            <a:alphaModFix/>
          </a:blip>
          <a:srcRect/>
          <a:stretch/>
        </p:blipFill>
        <p:spPr>
          <a:xfrm>
            <a:off x="7998459" y="4248885"/>
            <a:ext cx="763143" cy="993131"/>
          </a:xfrm>
          <a:prstGeom prst="rect">
            <a:avLst/>
          </a:prstGeom>
          <a:noFill/>
          <a:ln>
            <a:noFill/>
          </a:ln>
        </p:spPr>
      </p:pic>
      <p:sp>
        <p:nvSpPr>
          <p:cNvPr id="22" name="Google Shape;579;p9"/>
          <p:cNvSpPr txBox="1"/>
          <p:nvPr/>
        </p:nvSpPr>
        <p:spPr>
          <a:xfrm>
            <a:off x="8730111" y="5502787"/>
            <a:ext cx="2579412" cy="677054"/>
          </a:xfrm>
          <a:prstGeom prst="rect">
            <a:avLst/>
          </a:prstGeom>
          <a:noFill/>
          <a:ln>
            <a:noFill/>
          </a:ln>
        </p:spPr>
        <p:txBody>
          <a:bodyPr spcFirstLastPara="1" wrap="square" lIns="121900" tIns="60933" rIns="121900" bIns="60933" anchor="t" anchorCtr="0">
            <a:spAutoFit/>
          </a:bodyPr>
          <a:lstStyle/>
          <a:p>
            <a:pPr algn="ctr"/>
            <a:r>
              <a:rPr lang="en-US">
                <a:solidFill>
                  <a:schemeClr val="dk1"/>
                </a:solidFill>
                <a:latin typeface="Verdana"/>
                <a:ea typeface="Verdana"/>
                <a:cs typeface="Verdana"/>
                <a:sym typeface="Verdana"/>
              </a:rPr>
              <a:t>Interviewer </a:t>
            </a:r>
            <a:endParaRPr sz="2400"/>
          </a:p>
          <a:p>
            <a:pPr algn="ctr"/>
            <a:r>
              <a:rPr lang="en-US">
                <a:solidFill>
                  <a:schemeClr val="dk1"/>
                </a:solidFill>
                <a:latin typeface="Verdana"/>
                <a:ea typeface="Verdana"/>
                <a:cs typeface="Verdana"/>
                <a:sym typeface="Verdana"/>
              </a:rPr>
              <a:t>Sonali Singh</a:t>
            </a:r>
            <a:endParaRPr sz="2400"/>
          </a:p>
        </p:txBody>
      </p:sp>
      <p:sp>
        <p:nvSpPr>
          <p:cNvPr id="23" name="Google Shape;580;p9"/>
          <p:cNvSpPr txBox="1"/>
          <p:nvPr/>
        </p:nvSpPr>
        <p:spPr>
          <a:xfrm>
            <a:off x="8795323" y="2322797"/>
            <a:ext cx="3019867" cy="410379"/>
          </a:xfrm>
          <a:prstGeom prst="rect">
            <a:avLst/>
          </a:prstGeom>
          <a:solidFill>
            <a:schemeClr val="lt2"/>
          </a:solidFill>
          <a:ln>
            <a:noFill/>
          </a:ln>
        </p:spPr>
        <p:txBody>
          <a:bodyPr spcFirstLastPara="1" wrap="square" lIns="121900" tIns="60933" rIns="121900" bIns="60933" anchor="t" anchorCtr="0">
            <a:spAutoFit/>
          </a:bodyPr>
          <a:lstStyle/>
          <a:p>
            <a:r>
              <a:rPr lang="en-US" sz="1867">
                <a:solidFill>
                  <a:schemeClr val="dk1"/>
                </a:solidFill>
                <a:latin typeface="Verdana"/>
                <a:ea typeface="Verdana"/>
                <a:cs typeface="Verdana"/>
                <a:sym typeface="Verdana"/>
              </a:rPr>
              <a:t>Interview Preference</a:t>
            </a:r>
            <a:endParaRPr sz="2400"/>
          </a:p>
        </p:txBody>
      </p:sp>
      <p:sp>
        <p:nvSpPr>
          <p:cNvPr id="24" name="Google Shape;581;p9"/>
          <p:cNvSpPr txBox="1"/>
          <p:nvPr/>
        </p:nvSpPr>
        <p:spPr>
          <a:xfrm>
            <a:off x="0" y="353811"/>
            <a:ext cx="11664000" cy="509885"/>
          </a:xfrm>
          <a:prstGeom prst="rect">
            <a:avLst/>
          </a:prstGeom>
          <a:noFill/>
          <a:ln>
            <a:noFill/>
          </a:ln>
        </p:spPr>
        <p:txBody>
          <a:bodyPr spcFirstLastPara="1" wrap="square" lIns="121900" tIns="60933" rIns="121900" bIns="60933" anchor="b" anchorCtr="0">
            <a:noAutofit/>
          </a:bodyPr>
          <a:lstStyle/>
          <a:p>
            <a:pPr>
              <a:buClr>
                <a:schemeClr val="dk1"/>
              </a:buClr>
              <a:buSzPts val="4500"/>
            </a:pPr>
            <a:r>
              <a:rPr lang="en-US" sz="6000" b="1" dirty="0">
                <a:solidFill>
                  <a:schemeClr val="dk1"/>
                </a:solidFill>
                <a:latin typeface="Verdana"/>
                <a:ea typeface="Verdana"/>
                <a:cs typeface="Verdana"/>
                <a:sym typeface="Verdana"/>
              </a:rPr>
              <a:t> </a:t>
            </a:r>
            <a:r>
              <a:rPr lang="en-US" sz="3733" b="1" dirty="0">
                <a:solidFill>
                  <a:schemeClr val="dk1"/>
                </a:solidFill>
                <a:latin typeface="Verdana"/>
                <a:ea typeface="Verdana"/>
                <a:cs typeface="Verdana"/>
                <a:sym typeface="Verdana"/>
              </a:rPr>
              <a:t>Autism Scenario – Interview Process</a:t>
            </a:r>
            <a:endParaRPr sz="6000" b="1" dirty="0">
              <a:solidFill>
                <a:schemeClr val="dk1"/>
              </a:solidFill>
              <a:latin typeface="Verdana"/>
              <a:ea typeface="Verdana"/>
              <a:cs typeface="Verdana"/>
              <a:sym typeface="Verdana"/>
            </a:endParaRPr>
          </a:p>
        </p:txBody>
      </p:sp>
      <p:pic>
        <p:nvPicPr>
          <p:cNvPr id="25" name="Google Shape;582;p9"/>
          <p:cNvPicPr preferRelativeResize="0"/>
          <p:nvPr/>
        </p:nvPicPr>
        <p:blipFill rotWithShape="1">
          <a:blip r:embed="rId8">
            <a:alphaModFix/>
          </a:blip>
          <a:srcRect/>
          <a:stretch/>
        </p:blipFill>
        <p:spPr>
          <a:xfrm>
            <a:off x="539350" y="1045805"/>
            <a:ext cx="500905" cy="566240"/>
          </a:xfrm>
          <a:prstGeom prst="rect">
            <a:avLst/>
          </a:prstGeom>
          <a:noFill/>
          <a:ln>
            <a:noFill/>
          </a:ln>
        </p:spPr>
      </p:pic>
      <p:cxnSp>
        <p:nvCxnSpPr>
          <p:cNvPr id="26" name="Google Shape;583;p9"/>
          <p:cNvCxnSpPr/>
          <p:nvPr/>
        </p:nvCxnSpPr>
        <p:spPr>
          <a:xfrm>
            <a:off x="157551" y="164637"/>
            <a:ext cx="11657639" cy="0"/>
          </a:xfrm>
          <a:prstGeom prst="straightConnector1">
            <a:avLst/>
          </a:prstGeom>
          <a:noFill/>
          <a:ln w="38100" cap="flat" cmpd="sng">
            <a:solidFill>
              <a:schemeClr val="accent2"/>
            </a:solidFill>
            <a:prstDash val="solid"/>
            <a:round/>
            <a:headEnd type="none" w="sm" len="sm"/>
            <a:tailEnd type="none" w="sm" len="sm"/>
          </a:ln>
          <a:effectLst>
            <a:outerShdw blurRad="40000" dist="23000" dir="5400000" rotWithShape="0">
              <a:srgbClr val="000000">
                <a:alpha val="34901"/>
              </a:srgbClr>
            </a:outerShdw>
          </a:effectLst>
        </p:spPr>
      </p:cxnSp>
      <p:sp>
        <p:nvSpPr>
          <p:cNvPr id="27" name="Google Shape;584;p9"/>
          <p:cNvSpPr/>
          <p:nvPr/>
        </p:nvSpPr>
        <p:spPr>
          <a:xfrm>
            <a:off x="314510" y="957141"/>
            <a:ext cx="7516708" cy="5449911"/>
          </a:xfrm>
          <a:prstGeom prst="rect">
            <a:avLst/>
          </a:prstGeom>
          <a:noFill/>
          <a:ln w="25400" cap="flat" cmpd="sng">
            <a:solidFill>
              <a:srgbClr val="004A75"/>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lt1"/>
              </a:solidFill>
              <a:latin typeface="Verdana"/>
              <a:ea typeface="Verdana"/>
              <a:cs typeface="Verdana"/>
              <a:sym typeface="Verdana"/>
            </a:endParaRPr>
          </a:p>
        </p:txBody>
      </p:sp>
      <p:cxnSp>
        <p:nvCxnSpPr>
          <p:cNvPr id="28" name="Google Shape;585;p9"/>
          <p:cNvCxnSpPr/>
          <p:nvPr/>
        </p:nvCxnSpPr>
        <p:spPr>
          <a:xfrm>
            <a:off x="277766" y="6693363"/>
            <a:ext cx="11657639" cy="0"/>
          </a:xfrm>
          <a:prstGeom prst="straightConnector1">
            <a:avLst/>
          </a:prstGeom>
          <a:noFill/>
          <a:ln w="38100" cap="flat" cmpd="sng">
            <a:solidFill>
              <a:schemeClr val="accent2"/>
            </a:solidFill>
            <a:prstDash val="solid"/>
            <a:round/>
            <a:headEnd type="none" w="sm" len="sm"/>
            <a:tailEnd type="none" w="sm" len="sm"/>
          </a:ln>
          <a:effectLst>
            <a:outerShdw blurRad="40000" dist="23000" dir="5400000" rotWithShape="0">
              <a:srgbClr val="000000">
                <a:alpha val="34901"/>
              </a:srgbClr>
            </a:outerShdw>
          </a:effectLst>
        </p:spPr>
      </p:cxnSp>
      <p:pic>
        <p:nvPicPr>
          <p:cNvPr id="29" name="Google Shape;586;p9" descr="Daily calendar"/>
          <p:cNvPicPr preferRelativeResize="0"/>
          <p:nvPr/>
        </p:nvPicPr>
        <p:blipFill rotWithShape="1">
          <a:blip r:embed="rId9">
            <a:alphaModFix/>
          </a:blip>
          <a:srcRect/>
          <a:stretch/>
        </p:blipFill>
        <p:spPr>
          <a:xfrm>
            <a:off x="3681315" y="1661047"/>
            <a:ext cx="666183" cy="666183"/>
          </a:xfrm>
          <a:prstGeom prst="rect">
            <a:avLst/>
          </a:prstGeom>
          <a:noFill/>
          <a:ln>
            <a:noFill/>
          </a:ln>
        </p:spPr>
      </p:pic>
      <p:graphicFrame>
        <p:nvGraphicFramePr>
          <p:cNvPr id="30" name="Google Shape;587;p9"/>
          <p:cNvGraphicFramePr/>
          <p:nvPr/>
        </p:nvGraphicFramePr>
        <p:xfrm>
          <a:off x="2240715" y="2769683"/>
          <a:ext cx="3855300" cy="2894599"/>
        </p:xfrm>
        <a:graphic>
          <a:graphicData uri="http://schemas.openxmlformats.org/drawingml/2006/table">
            <a:tbl>
              <a:tblPr firstRow="1" bandRow="1">
                <a:noFill/>
              </a:tblPr>
              <a:tblGrid>
                <a:gridCol w="981933">
                  <a:extLst>
                    <a:ext uri="{9D8B030D-6E8A-4147-A177-3AD203B41FA5}">
                      <a16:colId xmlns:a16="http://schemas.microsoft.com/office/drawing/2014/main" xmlns="" val="20000"/>
                    </a:ext>
                  </a:extLst>
                </a:gridCol>
                <a:gridCol w="1588267">
                  <a:extLst>
                    <a:ext uri="{9D8B030D-6E8A-4147-A177-3AD203B41FA5}">
                      <a16:colId xmlns:a16="http://schemas.microsoft.com/office/drawing/2014/main" xmlns="" val="20001"/>
                    </a:ext>
                  </a:extLst>
                </a:gridCol>
                <a:gridCol w="1285100">
                  <a:extLst>
                    <a:ext uri="{9D8B030D-6E8A-4147-A177-3AD203B41FA5}">
                      <a16:colId xmlns:a16="http://schemas.microsoft.com/office/drawing/2014/main" xmlns="" val="20002"/>
                    </a:ext>
                  </a:extLst>
                </a:gridCol>
              </a:tblGrid>
              <a:tr h="731533">
                <a:tc>
                  <a:txBody>
                    <a:bodyPr/>
                    <a:lstStyle/>
                    <a:p>
                      <a:pPr marL="0" marR="0" lvl="0" indent="0" algn="l" rtl="0">
                        <a:spcBef>
                          <a:spcPts val="0"/>
                        </a:spcBef>
                        <a:spcAft>
                          <a:spcPts val="0"/>
                        </a:spcAft>
                        <a:buNone/>
                      </a:pPr>
                      <a:endParaRPr sz="1900"/>
                    </a:p>
                  </a:txBody>
                  <a:tcPr marL="91433" marR="91433" marT="45733" marB="45733"/>
                </a:tc>
                <a:tc>
                  <a:txBody>
                    <a:bodyPr/>
                    <a:lstStyle/>
                    <a:p>
                      <a:pPr marL="0" marR="0" lvl="0" indent="0" algn="l" rtl="0">
                        <a:spcBef>
                          <a:spcPts val="0"/>
                        </a:spcBef>
                        <a:spcAft>
                          <a:spcPts val="0"/>
                        </a:spcAft>
                        <a:buNone/>
                      </a:pPr>
                      <a:endParaRPr sz="1900"/>
                    </a:p>
                  </a:txBody>
                  <a:tcPr marL="91433" marR="91433" marT="45733" marB="45733"/>
                </a:tc>
                <a:tc>
                  <a:txBody>
                    <a:bodyPr/>
                    <a:lstStyle/>
                    <a:p>
                      <a:pPr marL="0" marR="0" lvl="0" indent="0" algn="l" rtl="0">
                        <a:spcBef>
                          <a:spcPts val="0"/>
                        </a:spcBef>
                        <a:spcAft>
                          <a:spcPts val="0"/>
                        </a:spcAft>
                        <a:buNone/>
                      </a:pPr>
                      <a:endParaRPr sz="1500" dirty="0">
                        <a:solidFill>
                          <a:schemeClr val="dk1"/>
                        </a:solidFill>
                      </a:endParaRPr>
                    </a:p>
                    <a:p>
                      <a:pPr marL="0" marR="0" lvl="0" indent="0" algn="l" rtl="0">
                        <a:spcBef>
                          <a:spcPts val="0"/>
                        </a:spcBef>
                        <a:spcAft>
                          <a:spcPts val="0"/>
                        </a:spcAft>
                        <a:buNone/>
                      </a:pPr>
                      <a:r>
                        <a:rPr lang="en-US" sz="1500" dirty="0">
                          <a:solidFill>
                            <a:schemeClr val="dk1"/>
                          </a:solidFill>
                        </a:rPr>
                        <a:t>Breakfast</a:t>
                      </a:r>
                      <a:endParaRPr sz="2400" dirty="0"/>
                    </a:p>
                  </a:txBody>
                  <a:tcPr marL="91433" marR="91433" marT="45733" marB="45733"/>
                </a:tc>
                <a:extLst>
                  <a:ext uri="{0D108BD9-81ED-4DB2-BD59-A6C34878D82A}">
                    <a16:rowId xmlns:a16="http://schemas.microsoft.com/office/drawing/2014/main" xmlns="" val="10000"/>
                  </a:ext>
                </a:extLst>
              </a:tr>
              <a:tr h="762027">
                <a:tc>
                  <a:txBody>
                    <a:bodyPr/>
                    <a:lstStyle/>
                    <a:p>
                      <a:pPr marL="0" marR="0" lvl="0" indent="0" algn="l" rtl="0">
                        <a:spcBef>
                          <a:spcPts val="0"/>
                        </a:spcBef>
                        <a:spcAft>
                          <a:spcPts val="0"/>
                        </a:spcAft>
                        <a:buNone/>
                      </a:pPr>
                      <a:endParaRPr sz="1900"/>
                    </a:p>
                  </a:txBody>
                  <a:tcPr marL="91433" marR="91433" marT="45733" marB="45733"/>
                </a:tc>
                <a:tc>
                  <a:txBody>
                    <a:bodyPr/>
                    <a:lstStyle/>
                    <a:p>
                      <a:pPr marL="0" marR="0" lvl="0" indent="0" algn="l" rtl="0">
                        <a:spcBef>
                          <a:spcPts val="0"/>
                        </a:spcBef>
                        <a:spcAft>
                          <a:spcPts val="0"/>
                        </a:spcAft>
                        <a:buNone/>
                      </a:pPr>
                      <a:endParaRPr sz="1900" dirty="0"/>
                    </a:p>
                  </a:txBody>
                  <a:tcPr marL="91433" marR="91433" marT="45733" marB="45733"/>
                </a:tc>
                <a:tc>
                  <a:txBody>
                    <a:bodyPr/>
                    <a:lstStyle/>
                    <a:p>
                      <a:pPr marL="0" marR="0" lvl="0" indent="0" algn="l" rtl="0">
                        <a:spcBef>
                          <a:spcPts val="0"/>
                        </a:spcBef>
                        <a:spcAft>
                          <a:spcPts val="0"/>
                        </a:spcAft>
                        <a:buNone/>
                      </a:pPr>
                      <a:endParaRPr sz="1500" b="1">
                        <a:solidFill>
                          <a:schemeClr val="dk1"/>
                        </a:solidFill>
                      </a:endParaRPr>
                    </a:p>
                    <a:p>
                      <a:pPr marL="0" marR="0" lvl="0" indent="0" algn="l" rtl="0">
                        <a:spcBef>
                          <a:spcPts val="0"/>
                        </a:spcBef>
                        <a:spcAft>
                          <a:spcPts val="0"/>
                        </a:spcAft>
                        <a:buNone/>
                      </a:pPr>
                      <a:r>
                        <a:rPr lang="en-US" sz="1500" b="1">
                          <a:solidFill>
                            <a:schemeClr val="dk1"/>
                          </a:solidFill>
                        </a:rPr>
                        <a:t>Games Practice</a:t>
                      </a:r>
                      <a:endParaRPr sz="2400"/>
                    </a:p>
                  </a:txBody>
                  <a:tcPr marL="91433" marR="91433" marT="45733" marB="45733"/>
                </a:tc>
                <a:extLst>
                  <a:ext uri="{0D108BD9-81ED-4DB2-BD59-A6C34878D82A}">
                    <a16:rowId xmlns:a16="http://schemas.microsoft.com/office/drawing/2014/main" xmlns="" val="10001"/>
                  </a:ext>
                </a:extLst>
              </a:tr>
              <a:tr h="654267">
                <a:tc>
                  <a:txBody>
                    <a:bodyPr/>
                    <a:lstStyle/>
                    <a:p>
                      <a:pPr marL="0" marR="0" lvl="0" indent="0" algn="l" rtl="0">
                        <a:spcBef>
                          <a:spcPts val="0"/>
                        </a:spcBef>
                        <a:spcAft>
                          <a:spcPts val="0"/>
                        </a:spcAft>
                        <a:buNone/>
                      </a:pPr>
                      <a:endParaRPr sz="1900"/>
                    </a:p>
                  </a:txBody>
                  <a:tcPr marL="91433" marR="91433" marT="45733" marB="45733"/>
                </a:tc>
                <a:tc>
                  <a:txBody>
                    <a:bodyPr/>
                    <a:lstStyle/>
                    <a:p>
                      <a:pPr marL="0" marR="0" lvl="0" indent="0" algn="l" rtl="0">
                        <a:spcBef>
                          <a:spcPts val="0"/>
                        </a:spcBef>
                        <a:spcAft>
                          <a:spcPts val="0"/>
                        </a:spcAft>
                        <a:buNone/>
                      </a:pPr>
                      <a:endParaRPr sz="1900" dirty="0"/>
                    </a:p>
                  </a:txBody>
                  <a:tcPr marL="91433" marR="91433" marT="45733" marB="45733"/>
                </a:tc>
                <a:tc>
                  <a:txBody>
                    <a:bodyPr/>
                    <a:lstStyle/>
                    <a:p>
                      <a:pPr marL="0" marR="0" lvl="0" indent="0" algn="l" rtl="0">
                        <a:spcBef>
                          <a:spcPts val="0"/>
                        </a:spcBef>
                        <a:spcAft>
                          <a:spcPts val="0"/>
                        </a:spcAft>
                        <a:buNone/>
                      </a:pPr>
                      <a:endParaRPr sz="1500" dirty="0">
                        <a:solidFill>
                          <a:schemeClr val="dk1"/>
                        </a:solidFill>
                      </a:endParaRPr>
                    </a:p>
                    <a:p>
                      <a:pPr marL="0" marR="0" lvl="0" indent="0" algn="l" rtl="0">
                        <a:spcBef>
                          <a:spcPts val="0"/>
                        </a:spcBef>
                        <a:spcAft>
                          <a:spcPts val="0"/>
                        </a:spcAft>
                        <a:buNone/>
                      </a:pPr>
                      <a:r>
                        <a:rPr lang="en-US" sz="1500" b="1" dirty="0">
                          <a:solidFill>
                            <a:schemeClr val="dk1"/>
                          </a:solidFill>
                        </a:rPr>
                        <a:t>Lunch</a:t>
                      </a:r>
                      <a:endParaRPr sz="2400" dirty="0"/>
                    </a:p>
                  </a:txBody>
                  <a:tcPr marL="91433" marR="91433" marT="45733" marB="45733"/>
                </a:tc>
                <a:extLst>
                  <a:ext uri="{0D108BD9-81ED-4DB2-BD59-A6C34878D82A}">
                    <a16:rowId xmlns:a16="http://schemas.microsoft.com/office/drawing/2014/main" xmlns="" val="10002"/>
                  </a:ext>
                </a:extLst>
              </a:tr>
              <a:tr h="731533">
                <a:tc>
                  <a:txBody>
                    <a:bodyPr/>
                    <a:lstStyle/>
                    <a:p>
                      <a:pPr marL="0" marR="0" lvl="0" indent="0" algn="l" rtl="0">
                        <a:spcBef>
                          <a:spcPts val="0"/>
                        </a:spcBef>
                        <a:spcAft>
                          <a:spcPts val="0"/>
                        </a:spcAft>
                        <a:buNone/>
                      </a:pPr>
                      <a:endParaRPr sz="1900"/>
                    </a:p>
                  </a:txBody>
                  <a:tcPr marL="91433" marR="91433" marT="45733" marB="45733"/>
                </a:tc>
                <a:tc>
                  <a:txBody>
                    <a:bodyPr/>
                    <a:lstStyle/>
                    <a:p>
                      <a:pPr marL="0" marR="0" lvl="0" indent="0" algn="l" rtl="0">
                        <a:spcBef>
                          <a:spcPts val="0"/>
                        </a:spcBef>
                        <a:spcAft>
                          <a:spcPts val="0"/>
                        </a:spcAft>
                        <a:buNone/>
                      </a:pPr>
                      <a:endParaRPr sz="1900"/>
                    </a:p>
                  </a:txBody>
                  <a:tcPr marL="91433" marR="91433" marT="45733" marB="45733"/>
                </a:tc>
                <a:tc>
                  <a:txBody>
                    <a:bodyPr/>
                    <a:lstStyle/>
                    <a:p>
                      <a:pPr marL="0" marR="0" lvl="0" indent="0" algn="l" rtl="0">
                        <a:spcBef>
                          <a:spcPts val="0"/>
                        </a:spcBef>
                        <a:spcAft>
                          <a:spcPts val="0"/>
                        </a:spcAft>
                        <a:buNone/>
                      </a:pPr>
                      <a:endParaRPr sz="1500" dirty="0">
                        <a:solidFill>
                          <a:schemeClr val="dk1"/>
                        </a:solidFill>
                      </a:endParaRPr>
                    </a:p>
                    <a:p>
                      <a:pPr marL="0" marR="0" lvl="0" indent="0" algn="l" rtl="0">
                        <a:spcBef>
                          <a:spcPts val="0"/>
                        </a:spcBef>
                        <a:spcAft>
                          <a:spcPts val="0"/>
                        </a:spcAft>
                        <a:buNone/>
                      </a:pPr>
                      <a:r>
                        <a:rPr lang="en-US" sz="1500" b="1" dirty="0">
                          <a:solidFill>
                            <a:schemeClr val="dk1"/>
                          </a:solidFill>
                        </a:rPr>
                        <a:t>Interview</a:t>
                      </a:r>
                      <a:endParaRPr sz="2400" dirty="0"/>
                    </a:p>
                  </a:txBody>
                  <a:tcPr marL="91433" marR="91433" marT="45733" marB="45733"/>
                </a:tc>
                <a:extLst>
                  <a:ext uri="{0D108BD9-81ED-4DB2-BD59-A6C34878D82A}">
                    <a16:rowId xmlns:a16="http://schemas.microsoft.com/office/drawing/2014/main" xmlns="" val="10003"/>
                  </a:ext>
                </a:extLst>
              </a:tr>
            </a:tbl>
          </a:graphicData>
        </a:graphic>
      </p:graphicFrame>
      <p:pic>
        <p:nvPicPr>
          <p:cNvPr id="31" name="Google Shape;588;p9" descr="Clock"/>
          <p:cNvPicPr preferRelativeResize="0"/>
          <p:nvPr/>
        </p:nvPicPr>
        <p:blipFill rotWithShape="1">
          <a:blip r:embed="rId10">
            <a:alphaModFix/>
          </a:blip>
          <a:srcRect/>
          <a:stretch/>
        </p:blipFill>
        <p:spPr>
          <a:xfrm>
            <a:off x="2492952" y="2898259"/>
            <a:ext cx="634104" cy="388035"/>
          </a:xfrm>
          <a:prstGeom prst="rect">
            <a:avLst/>
          </a:prstGeom>
          <a:noFill/>
          <a:ln>
            <a:noFill/>
          </a:ln>
        </p:spPr>
      </p:pic>
      <p:pic>
        <p:nvPicPr>
          <p:cNvPr id="32" name="Google Shape;589;p9" descr="Cake slice"/>
          <p:cNvPicPr preferRelativeResize="0"/>
          <p:nvPr/>
        </p:nvPicPr>
        <p:blipFill rotWithShape="1">
          <a:blip r:embed="rId11">
            <a:alphaModFix/>
          </a:blip>
          <a:srcRect/>
          <a:stretch/>
        </p:blipFill>
        <p:spPr>
          <a:xfrm>
            <a:off x="3450763" y="2898257"/>
            <a:ext cx="634103" cy="457200"/>
          </a:xfrm>
          <a:prstGeom prst="rect">
            <a:avLst/>
          </a:prstGeom>
          <a:noFill/>
          <a:ln>
            <a:noFill/>
          </a:ln>
        </p:spPr>
      </p:pic>
      <p:pic>
        <p:nvPicPr>
          <p:cNvPr id="33" name="Google Shape;590;p9" descr="Clock"/>
          <p:cNvPicPr preferRelativeResize="0"/>
          <p:nvPr/>
        </p:nvPicPr>
        <p:blipFill rotWithShape="1">
          <a:blip r:embed="rId10">
            <a:alphaModFix/>
          </a:blip>
          <a:srcRect/>
          <a:stretch/>
        </p:blipFill>
        <p:spPr>
          <a:xfrm>
            <a:off x="2469207" y="3601144"/>
            <a:ext cx="634104" cy="388035"/>
          </a:xfrm>
          <a:prstGeom prst="rect">
            <a:avLst/>
          </a:prstGeom>
          <a:noFill/>
          <a:ln>
            <a:noFill/>
          </a:ln>
        </p:spPr>
      </p:pic>
      <p:pic>
        <p:nvPicPr>
          <p:cNvPr id="34" name="Google Shape;591;p9" descr="Clock"/>
          <p:cNvPicPr preferRelativeResize="0"/>
          <p:nvPr/>
        </p:nvPicPr>
        <p:blipFill rotWithShape="1">
          <a:blip r:embed="rId10">
            <a:alphaModFix/>
          </a:blip>
          <a:srcRect/>
          <a:stretch/>
        </p:blipFill>
        <p:spPr>
          <a:xfrm>
            <a:off x="2462647" y="4282137"/>
            <a:ext cx="634104" cy="388035"/>
          </a:xfrm>
          <a:prstGeom prst="rect">
            <a:avLst/>
          </a:prstGeom>
          <a:noFill/>
          <a:ln>
            <a:noFill/>
          </a:ln>
        </p:spPr>
      </p:pic>
      <p:pic>
        <p:nvPicPr>
          <p:cNvPr id="35" name="Google Shape;592;p9" descr="Clock"/>
          <p:cNvPicPr preferRelativeResize="0"/>
          <p:nvPr/>
        </p:nvPicPr>
        <p:blipFill rotWithShape="1">
          <a:blip r:embed="rId10">
            <a:alphaModFix/>
          </a:blip>
          <a:srcRect/>
          <a:stretch/>
        </p:blipFill>
        <p:spPr>
          <a:xfrm>
            <a:off x="2484268" y="4956484"/>
            <a:ext cx="634104" cy="388035"/>
          </a:xfrm>
          <a:prstGeom prst="rect">
            <a:avLst/>
          </a:prstGeom>
          <a:noFill/>
          <a:ln>
            <a:noFill/>
          </a:ln>
        </p:spPr>
      </p:pic>
      <p:pic>
        <p:nvPicPr>
          <p:cNvPr id="36" name="Google Shape;593;p9" descr="Burger and drink"/>
          <p:cNvPicPr preferRelativeResize="0"/>
          <p:nvPr/>
        </p:nvPicPr>
        <p:blipFill rotWithShape="1">
          <a:blip r:embed="rId12">
            <a:alphaModFix/>
          </a:blip>
          <a:srcRect/>
          <a:stretch/>
        </p:blipFill>
        <p:spPr>
          <a:xfrm>
            <a:off x="3434696" y="4179277"/>
            <a:ext cx="714424" cy="515113"/>
          </a:xfrm>
          <a:prstGeom prst="rect">
            <a:avLst/>
          </a:prstGeom>
          <a:noFill/>
          <a:ln>
            <a:noFill/>
          </a:ln>
        </p:spPr>
      </p:pic>
      <p:sp>
        <p:nvSpPr>
          <p:cNvPr id="37" name="Google Shape;594;p9"/>
          <p:cNvSpPr txBox="1"/>
          <p:nvPr/>
        </p:nvSpPr>
        <p:spPr>
          <a:xfrm>
            <a:off x="3174521" y="2334492"/>
            <a:ext cx="1679775" cy="400055"/>
          </a:xfrm>
          <a:prstGeom prst="rect">
            <a:avLst/>
          </a:prstGeom>
          <a:noFill/>
          <a:ln>
            <a:noFill/>
          </a:ln>
        </p:spPr>
        <p:txBody>
          <a:bodyPr spcFirstLastPara="1" wrap="square" lIns="121900" tIns="60933" rIns="121900" bIns="60933" anchor="t" anchorCtr="0">
            <a:spAutoFit/>
          </a:bodyPr>
          <a:lstStyle/>
          <a:p>
            <a:r>
              <a:rPr lang="en-US" dirty="0">
                <a:solidFill>
                  <a:schemeClr val="dk1"/>
                </a:solidFill>
                <a:latin typeface="Verdana"/>
                <a:ea typeface="Verdana"/>
                <a:cs typeface="Verdana"/>
                <a:sym typeface="Verdana"/>
              </a:rPr>
              <a:t>    4 Oct</a:t>
            </a:r>
            <a:endParaRPr sz="2400" dirty="0"/>
          </a:p>
        </p:txBody>
      </p:sp>
      <p:pic>
        <p:nvPicPr>
          <p:cNvPr id="38" name="Google Shape;595;p9" descr="Puzzle"/>
          <p:cNvPicPr preferRelativeResize="0"/>
          <p:nvPr/>
        </p:nvPicPr>
        <p:blipFill rotWithShape="1">
          <a:blip r:embed="rId13">
            <a:alphaModFix/>
          </a:blip>
          <a:srcRect/>
          <a:stretch/>
        </p:blipFill>
        <p:spPr>
          <a:xfrm>
            <a:off x="3392844" y="3538062"/>
            <a:ext cx="714424" cy="515113"/>
          </a:xfrm>
          <a:prstGeom prst="rect">
            <a:avLst/>
          </a:prstGeom>
          <a:noFill/>
          <a:ln>
            <a:noFill/>
          </a:ln>
        </p:spPr>
      </p:pic>
      <p:pic>
        <p:nvPicPr>
          <p:cNvPr id="39" name="Google Shape;596;p9">
            <a:hlinkClick r:id="rId14" action="ppaction://hlinksldjump"/>
          </p:cNvPr>
          <p:cNvPicPr preferRelativeResize="0"/>
          <p:nvPr/>
        </p:nvPicPr>
        <p:blipFill rotWithShape="1">
          <a:blip r:embed="rId2">
            <a:alphaModFix/>
          </a:blip>
          <a:srcRect/>
          <a:stretch/>
        </p:blipFill>
        <p:spPr>
          <a:xfrm>
            <a:off x="3534253" y="4942745"/>
            <a:ext cx="634104" cy="457201"/>
          </a:xfrm>
          <a:prstGeom prst="rect">
            <a:avLst/>
          </a:prstGeom>
          <a:noFill/>
          <a:ln>
            <a:noFill/>
          </a:ln>
        </p:spPr>
      </p:pic>
      <p:cxnSp>
        <p:nvCxnSpPr>
          <p:cNvPr id="40" name="Google Shape;597;p9"/>
          <p:cNvCxnSpPr/>
          <p:nvPr/>
        </p:nvCxnSpPr>
        <p:spPr>
          <a:xfrm>
            <a:off x="2056123" y="4727132"/>
            <a:ext cx="4224469" cy="0"/>
          </a:xfrm>
          <a:prstGeom prst="straightConnector1">
            <a:avLst/>
          </a:prstGeom>
          <a:noFill/>
          <a:ln w="9525" cap="flat" cmpd="sng">
            <a:solidFill>
              <a:srgbClr val="FF0000"/>
            </a:solidFill>
            <a:prstDash val="solid"/>
            <a:round/>
            <a:headEnd type="none" w="sm" len="sm"/>
            <a:tailEnd type="none" w="sm" len="sm"/>
          </a:ln>
        </p:spPr>
      </p:cxnSp>
      <p:sp>
        <p:nvSpPr>
          <p:cNvPr id="41" name="Google Shape;598;p9"/>
          <p:cNvSpPr txBox="1"/>
          <p:nvPr/>
        </p:nvSpPr>
        <p:spPr>
          <a:xfrm>
            <a:off x="980598" y="1087895"/>
            <a:ext cx="3483221" cy="400055"/>
          </a:xfrm>
          <a:prstGeom prst="rect">
            <a:avLst/>
          </a:prstGeom>
          <a:noFill/>
          <a:ln>
            <a:noFill/>
          </a:ln>
        </p:spPr>
        <p:txBody>
          <a:bodyPr spcFirstLastPara="1" wrap="square" lIns="121900" tIns="60933" rIns="121900" bIns="60933" anchor="t" anchorCtr="0">
            <a:spAutoFit/>
          </a:bodyPr>
          <a:lstStyle/>
          <a:p>
            <a:r>
              <a:rPr lang="en-US" b="1">
                <a:solidFill>
                  <a:schemeClr val="dk1"/>
                </a:solidFill>
                <a:latin typeface="Verdana"/>
                <a:ea typeface="Verdana"/>
                <a:cs typeface="Verdana"/>
                <a:sym typeface="Verdana"/>
              </a:rPr>
              <a:t>Ashish’s Visual Calendar</a:t>
            </a:r>
            <a:endParaRPr sz="2400"/>
          </a:p>
        </p:txBody>
      </p:sp>
    </p:spTree>
    <p:extLst>
      <p:ext uri="{BB962C8B-B14F-4D97-AF65-F5344CB8AC3E}">
        <p14:creationId xmlns:p14="http://schemas.microsoft.com/office/powerpoint/2010/main" val="1415494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02"/>
        <p:cNvGrpSpPr/>
        <p:nvPr/>
      </p:nvGrpSpPr>
      <p:grpSpPr>
        <a:xfrm>
          <a:off x="0" y="0"/>
          <a:ext cx="0" cy="0"/>
          <a:chOff x="0" y="0"/>
          <a:chExt cx="0" cy="0"/>
        </a:xfrm>
      </p:grpSpPr>
      <p:sp>
        <p:nvSpPr>
          <p:cNvPr id="603" name="Google Shape;603;p10"/>
          <p:cNvSpPr/>
          <p:nvPr/>
        </p:nvSpPr>
        <p:spPr>
          <a:xfrm>
            <a:off x="8090872" y="365766"/>
            <a:ext cx="3971992" cy="4945781"/>
          </a:xfrm>
          <a:prstGeom prst="rect">
            <a:avLst/>
          </a:prstGeom>
          <a:noFill/>
          <a:ln w="25400" cap="flat" cmpd="sng">
            <a:solidFill>
              <a:srgbClr val="004A75"/>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lt1"/>
              </a:solidFill>
              <a:latin typeface="Verdana"/>
              <a:ea typeface="Verdana"/>
              <a:cs typeface="Verdana"/>
              <a:sym typeface="Verdana"/>
            </a:endParaRPr>
          </a:p>
        </p:txBody>
      </p:sp>
      <p:cxnSp>
        <p:nvCxnSpPr>
          <p:cNvPr id="604" name="Google Shape;604;p10"/>
          <p:cNvCxnSpPr/>
          <p:nvPr/>
        </p:nvCxnSpPr>
        <p:spPr>
          <a:xfrm>
            <a:off x="8090872" y="1486816"/>
            <a:ext cx="3955920" cy="0"/>
          </a:xfrm>
          <a:prstGeom prst="straightConnector1">
            <a:avLst/>
          </a:prstGeom>
          <a:noFill/>
          <a:ln w="9525" cap="flat" cmpd="sng">
            <a:solidFill>
              <a:srgbClr val="0064A0"/>
            </a:solidFill>
            <a:prstDash val="solid"/>
            <a:round/>
            <a:headEnd type="none" w="sm" len="sm"/>
            <a:tailEnd type="none" w="sm" len="sm"/>
          </a:ln>
        </p:spPr>
      </p:cxnSp>
      <p:sp>
        <p:nvSpPr>
          <p:cNvPr id="605" name="Google Shape;605;p10"/>
          <p:cNvSpPr txBox="1"/>
          <p:nvPr/>
        </p:nvSpPr>
        <p:spPr>
          <a:xfrm>
            <a:off x="8672571" y="577786"/>
            <a:ext cx="3347499" cy="677054"/>
          </a:xfrm>
          <a:prstGeom prst="rect">
            <a:avLst/>
          </a:prstGeom>
          <a:noFill/>
          <a:ln>
            <a:noFill/>
          </a:ln>
        </p:spPr>
        <p:txBody>
          <a:bodyPr spcFirstLastPara="1" wrap="square" lIns="121900" tIns="60933" rIns="121900" bIns="60933" anchor="t" anchorCtr="0">
            <a:spAutoFit/>
          </a:bodyPr>
          <a:lstStyle/>
          <a:p>
            <a:r>
              <a:rPr lang="en-US" b="1">
                <a:solidFill>
                  <a:schemeClr val="dk1"/>
                </a:solidFill>
                <a:latin typeface="Verdana"/>
                <a:ea typeface="Verdana"/>
                <a:cs typeface="Verdana"/>
                <a:sym typeface="Verdana"/>
              </a:rPr>
              <a:t>    Gamified Assessment</a:t>
            </a:r>
            <a:br>
              <a:rPr lang="en-US" b="1">
                <a:solidFill>
                  <a:schemeClr val="dk1"/>
                </a:solidFill>
                <a:latin typeface="Verdana"/>
                <a:ea typeface="Verdana"/>
                <a:cs typeface="Verdana"/>
                <a:sym typeface="Verdana"/>
              </a:rPr>
            </a:br>
            <a:r>
              <a:rPr lang="en-US" b="1">
                <a:solidFill>
                  <a:schemeClr val="dk1"/>
                </a:solidFill>
                <a:latin typeface="Verdana"/>
                <a:ea typeface="Verdana"/>
                <a:cs typeface="Verdana"/>
                <a:sym typeface="Verdana"/>
              </a:rPr>
              <a:t>               Topics </a:t>
            </a:r>
            <a:endParaRPr sz="2400"/>
          </a:p>
        </p:txBody>
      </p:sp>
      <p:cxnSp>
        <p:nvCxnSpPr>
          <p:cNvPr id="606" name="Google Shape;606;p10"/>
          <p:cNvCxnSpPr/>
          <p:nvPr/>
        </p:nvCxnSpPr>
        <p:spPr>
          <a:xfrm>
            <a:off x="8090872" y="2615886"/>
            <a:ext cx="3929352" cy="27465"/>
          </a:xfrm>
          <a:prstGeom prst="straightConnector1">
            <a:avLst/>
          </a:prstGeom>
          <a:noFill/>
          <a:ln w="9525" cap="flat" cmpd="sng">
            <a:solidFill>
              <a:srgbClr val="0064A0"/>
            </a:solidFill>
            <a:prstDash val="solid"/>
            <a:round/>
            <a:headEnd type="none" w="sm" len="sm"/>
            <a:tailEnd type="none" w="sm" len="sm"/>
          </a:ln>
        </p:spPr>
      </p:cxnSp>
      <p:sp>
        <p:nvSpPr>
          <p:cNvPr id="607" name="Google Shape;607;p10"/>
          <p:cNvSpPr txBox="1"/>
          <p:nvPr/>
        </p:nvSpPr>
        <p:spPr>
          <a:xfrm>
            <a:off x="8116884" y="1509021"/>
            <a:ext cx="3951309" cy="1144751"/>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r>
              <a:rPr lang="en-US" b="1">
                <a:solidFill>
                  <a:schemeClr val="dk1"/>
                </a:solidFill>
                <a:latin typeface="Verdana"/>
                <a:ea typeface="Verdana"/>
                <a:cs typeface="Verdana"/>
                <a:sym typeface="Verdana"/>
              </a:rPr>
              <a:t>Shape Spinner</a:t>
            </a:r>
            <a:endParaRPr sz="2400"/>
          </a:p>
        </p:txBody>
      </p:sp>
      <p:pic>
        <p:nvPicPr>
          <p:cNvPr id="608" name="Google Shape;608;p10" descr="Help"/>
          <p:cNvPicPr preferRelativeResize="0"/>
          <p:nvPr/>
        </p:nvPicPr>
        <p:blipFill rotWithShape="1">
          <a:blip r:embed="rId3">
            <a:alphaModFix/>
          </a:blip>
          <a:srcRect/>
          <a:stretch/>
        </p:blipFill>
        <p:spPr>
          <a:xfrm>
            <a:off x="7249159" y="213958"/>
            <a:ext cx="612557" cy="612557"/>
          </a:xfrm>
          <a:prstGeom prst="rect">
            <a:avLst/>
          </a:prstGeom>
          <a:noFill/>
          <a:ln>
            <a:noFill/>
          </a:ln>
        </p:spPr>
      </p:pic>
      <p:cxnSp>
        <p:nvCxnSpPr>
          <p:cNvPr id="609" name="Google Shape;609;p10"/>
          <p:cNvCxnSpPr/>
          <p:nvPr/>
        </p:nvCxnSpPr>
        <p:spPr>
          <a:xfrm>
            <a:off x="8090872" y="3652323"/>
            <a:ext cx="3955920" cy="0"/>
          </a:xfrm>
          <a:prstGeom prst="straightConnector1">
            <a:avLst/>
          </a:prstGeom>
          <a:noFill/>
          <a:ln w="9525" cap="flat" cmpd="sng">
            <a:solidFill>
              <a:srgbClr val="0064A0"/>
            </a:solidFill>
            <a:prstDash val="solid"/>
            <a:round/>
            <a:headEnd type="none" w="sm" len="sm"/>
            <a:tailEnd type="none" w="sm" len="sm"/>
          </a:ln>
        </p:spPr>
      </p:cxnSp>
      <p:cxnSp>
        <p:nvCxnSpPr>
          <p:cNvPr id="610" name="Google Shape;610;p10"/>
          <p:cNvCxnSpPr/>
          <p:nvPr/>
        </p:nvCxnSpPr>
        <p:spPr>
          <a:xfrm>
            <a:off x="7916594" y="5311551"/>
            <a:ext cx="3840481" cy="0"/>
          </a:xfrm>
          <a:prstGeom prst="straightConnector1">
            <a:avLst/>
          </a:prstGeom>
          <a:noFill/>
          <a:ln w="9525" cap="flat" cmpd="sng">
            <a:solidFill>
              <a:srgbClr val="0064A0"/>
            </a:solidFill>
            <a:prstDash val="solid"/>
            <a:round/>
            <a:headEnd type="none" w="sm" len="sm"/>
            <a:tailEnd type="none" w="sm" len="sm"/>
          </a:ln>
        </p:spPr>
      </p:cxnSp>
      <p:sp>
        <p:nvSpPr>
          <p:cNvPr id="611" name="Google Shape;611;p10"/>
          <p:cNvSpPr txBox="1"/>
          <p:nvPr/>
        </p:nvSpPr>
        <p:spPr>
          <a:xfrm>
            <a:off x="8995034" y="2983271"/>
            <a:ext cx="2740977" cy="400055"/>
          </a:xfrm>
          <a:prstGeom prst="rect">
            <a:avLst/>
          </a:prstGeom>
          <a:noFill/>
          <a:ln>
            <a:noFill/>
          </a:ln>
        </p:spPr>
        <p:txBody>
          <a:bodyPr spcFirstLastPara="1" wrap="square" lIns="121900" tIns="60933" rIns="121900" bIns="60933" anchor="t" anchorCtr="0">
            <a:spAutoFit/>
          </a:bodyPr>
          <a:lstStyle/>
          <a:p>
            <a:r>
              <a:rPr lang="en-US" dirty="0">
                <a:solidFill>
                  <a:schemeClr val="dk1"/>
                </a:solidFill>
                <a:latin typeface="Verdana"/>
                <a:ea typeface="Verdana"/>
                <a:cs typeface="Verdana"/>
                <a:sym typeface="Verdana"/>
              </a:rPr>
              <a:t> Pipe Puzzle</a:t>
            </a:r>
            <a:endParaRPr sz="2400" dirty="0"/>
          </a:p>
        </p:txBody>
      </p:sp>
      <p:sp>
        <p:nvSpPr>
          <p:cNvPr id="612" name="Google Shape;612;p10"/>
          <p:cNvSpPr txBox="1"/>
          <p:nvPr/>
        </p:nvSpPr>
        <p:spPr>
          <a:xfrm>
            <a:off x="9049581" y="3820629"/>
            <a:ext cx="2770467" cy="400055"/>
          </a:xfrm>
          <a:prstGeom prst="rect">
            <a:avLst/>
          </a:prstGeom>
          <a:noFill/>
          <a:ln>
            <a:noFill/>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Find the errors</a:t>
            </a:r>
            <a:endParaRPr sz="2400"/>
          </a:p>
        </p:txBody>
      </p:sp>
      <p:cxnSp>
        <p:nvCxnSpPr>
          <p:cNvPr id="613" name="Google Shape;613;p10"/>
          <p:cNvCxnSpPr/>
          <p:nvPr/>
        </p:nvCxnSpPr>
        <p:spPr>
          <a:xfrm>
            <a:off x="1" y="5311552"/>
            <a:ext cx="7916593" cy="1"/>
          </a:xfrm>
          <a:prstGeom prst="straightConnector1">
            <a:avLst/>
          </a:prstGeom>
          <a:noFill/>
          <a:ln w="9525" cap="flat" cmpd="sng">
            <a:solidFill>
              <a:srgbClr val="0064A0"/>
            </a:solidFill>
            <a:prstDash val="solid"/>
            <a:round/>
            <a:headEnd type="none" w="sm" len="sm"/>
            <a:tailEnd type="none" w="sm" len="sm"/>
          </a:ln>
        </p:spPr>
      </p:cxnSp>
      <p:sp>
        <p:nvSpPr>
          <p:cNvPr id="614" name="Google Shape;614;p10"/>
          <p:cNvSpPr txBox="1"/>
          <p:nvPr/>
        </p:nvSpPr>
        <p:spPr>
          <a:xfrm>
            <a:off x="4300893" y="6304747"/>
            <a:ext cx="1287105" cy="307722"/>
          </a:xfrm>
          <a:prstGeom prst="rect">
            <a:avLst/>
          </a:prstGeom>
          <a:noFill/>
          <a:ln>
            <a:noFill/>
          </a:ln>
        </p:spPr>
        <p:txBody>
          <a:bodyPr spcFirstLastPara="1" wrap="square" lIns="121900" tIns="60933" rIns="121900" bIns="60933" anchor="t" anchorCtr="0">
            <a:spAutoFit/>
          </a:bodyPr>
          <a:lstStyle/>
          <a:p>
            <a:r>
              <a:rPr lang="en-US" sz="1200">
                <a:solidFill>
                  <a:schemeClr val="dk1"/>
                </a:solidFill>
                <a:latin typeface="Verdana"/>
                <a:ea typeface="Verdana"/>
                <a:cs typeface="Verdana"/>
                <a:sym typeface="Verdana"/>
              </a:rPr>
              <a:t>Report Abuse</a:t>
            </a:r>
            <a:endParaRPr sz="2400"/>
          </a:p>
        </p:txBody>
      </p:sp>
      <p:pic>
        <p:nvPicPr>
          <p:cNvPr id="615" name="Google Shape;615;p10" descr="Network"/>
          <p:cNvPicPr preferRelativeResize="0"/>
          <p:nvPr/>
        </p:nvPicPr>
        <p:blipFill rotWithShape="1">
          <a:blip r:embed="rId4">
            <a:alphaModFix/>
          </a:blip>
          <a:srcRect/>
          <a:stretch/>
        </p:blipFill>
        <p:spPr>
          <a:xfrm>
            <a:off x="8252831" y="1660424"/>
            <a:ext cx="742203" cy="742203"/>
          </a:xfrm>
          <a:prstGeom prst="rect">
            <a:avLst/>
          </a:prstGeom>
          <a:noFill/>
          <a:ln>
            <a:noFill/>
          </a:ln>
        </p:spPr>
      </p:pic>
      <p:pic>
        <p:nvPicPr>
          <p:cNvPr id="616" name="Google Shape;616;p10"/>
          <p:cNvPicPr preferRelativeResize="0"/>
          <p:nvPr/>
        </p:nvPicPr>
        <p:blipFill rotWithShape="1">
          <a:blip r:embed="rId5">
            <a:alphaModFix/>
          </a:blip>
          <a:srcRect/>
          <a:stretch/>
        </p:blipFill>
        <p:spPr>
          <a:xfrm>
            <a:off x="8202752" y="456520"/>
            <a:ext cx="695325" cy="904875"/>
          </a:xfrm>
          <a:prstGeom prst="rect">
            <a:avLst/>
          </a:prstGeom>
          <a:noFill/>
          <a:ln>
            <a:noFill/>
          </a:ln>
        </p:spPr>
      </p:pic>
      <p:grpSp>
        <p:nvGrpSpPr>
          <p:cNvPr id="617" name="Google Shape;617;p10"/>
          <p:cNvGrpSpPr/>
          <p:nvPr/>
        </p:nvGrpSpPr>
        <p:grpSpPr>
          <a:xfrm>
            <a:off x="0" y="5305546"/>
            <a:ext cx="12078936" cy="1562761"/>
            <a:chOff x="0" y="3979159"/>
            <a:chExt cx="9059202" cy="1172071"/>
          </a:xfrm>
        </p:grpSpPr>
        <p:sp>
          <p:nvSpPr>
            <p:cNvPr id="618" name="Google Shape;618;p10"/>
            <p:cNvSpPr/>
            <p:nvPr/>
          </p:nvSpPr>
          <p:spPr>
            <a:xfrm>
              <a:off x="0" y="3983660"/>
              <a:ext cx="6060049" cy="1167570"/>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sp>
          <p:nvSpPr>
            <p:cNvPr id="619" name="Google Shape;619;p10"/>
            <p:cNvSpPr/>
            <p:nvPr/>
          </p:nvSpPr>
          <p:spPr>
            <a:xfrm>
              <a:off x="6080208" y="3979159"/>
              <a:ext cx="2978994" cy="1171047"/>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grpSp>
      <p:pic>
        <p:nvPicPr>
          <p:cNvPr id="620" name="Google Shape;620;p10" descr="A close up of a logo&#10;&#10;Description automatically generated"/>
          <p:cNvPicPr preferRelativeResize="0"/>
          <p:nvPr/>
        </p:nvPicPr>
        <p:blipFill rotWithShape="1">
          <a:blip r:embed="rId6">
            <a:alphaModFix/>
          </a:blip>
          <a:srcRect/>
          <a:stretch/>
        </p:blipFill>
        <p:spPr>
          <a:xfrm>
            <a:off x="11202185" y="6096798"/>
            <a:ext cx="711599" cy="711599"/>
          </a:xfrm>
          <a:prstGeom prst="rect">
            <a:avLst/>
          </a:prstGeom>
          <a:noFill/>
          <a:ln>
            <a:noFill/>
          </a:ln>
        </p:spPr>
      </p:pic>
      <p:cxnSp>
        <p:nvCxnSpPr>
          <p:cNvPr id="621" name="Google Shape;621;p10"/>
          <p:cNvCxnSpPr>
            <a:stCxn id="619" idx="1"/>
            <a:endCxn id="619" idx="3"/>
          </p:cNvCxnSpPr>
          <p:nvPr/>
        </p:nvCxnSpPr>
        <p:spPr>
          <a:xfrm>
            <a:off x="8106944" y="6086243"/>
            <a:ext cx="3972000" cy="0"/>
          </a:xfrm>
          <a:prstGeom prst="straightConnector1">
            <a:avLst/>
          </a:prstGeom>
          <a:noFill/>
          <a:ln w="9525" cap="flat" cmpd="sng">
            <a:solidFill>
              <a:srgbClr val="0064A0"/>
            </a:solidFill>
            <a:prstDash val="solid"/>
            <a:round/>
            <a:headEnd type="none" w="sm" len="sm"/>
            <a:tailEnd type="none" w="sm" len="sm"/>
          </a:ln>
        </p:spPr>
      </p:cxnSp>
      <p:sp>
        <p:nvSpPr>
          <p:cNvPr id="622" name="Google Shape;622;p10"/>
          <p:cNvSpPr/>
          <p:nvPr/>
        </p:nvSpPr>
        <p:spPr>
          <a:xfrm>
            <a:off x="8166249" y="6333717"/>
            <a:ext cx="457683" cy="473201"/>
          </a:xfrm>
          <a:prstGeom prst="chevron">
            <a:avLst>
              <a:gd name="adj" fmla="val 50000"/>
            </a:avLst>
          </a:prstGeom>
          <a:gradFill>
            <a:gsLst>
              <a:gs pos="0">
                <a:srgbClr val="9AD9F6"/>
              </a:gs>
              <a:gs pos="4000">
                <a:srgbClr val="FFFFFF">
                  <a:alpha val="0"/>
                </a:srgbClr>
              </a:gs>
              <a:gs pos="100000">
                <a:srgbClr val="78CCF0"/>
              </a:gs>
            </a:gsLst>
            <a:lin ang="16200000" scaled="0"/>
          </a:gradFill>
          <a:ln w="9525" cap="flat" cmpd="sng">
            <a:solidFill>
              <a:srgbClr val="00ADD8"/>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sp>
        <p:nvSpPr>
          <p:cNvPr id="623" name="Google Shape;623;p10"/>
          <p:cNvSpPr txBox="1"/>
          <p:nvPr/>
        </p:nvSpPr>
        <p:spPr>
          <a:xfrm>
            <a:off x="779514" y="6287517"/>
            <a:ext cx="848951"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Repeat</a:t>
            </a:r>
            <a:endParaRPr sz="2400"/>
          </a:p>
        </p:txBody>
      </p:sp>
      <p:sp>
        <p:nvSpPr>
          <p:cNvPr id="624" name="Google Shape;624;p10"/>
          <p:cNvSpPr txBox="1"/>
          <p:nvPr/>
        </p:nvSpPr>
        <p:spPr>
          <a:xfrm>
            <a:off x="2915877" y="6246155"/>
            <a:ext cx="914400"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Stop</a:t>
            </a:r>
            <a:endParaRPr sz="2400"/>
          </a:p>
        </p:txBody>
      </p:sp>
      <p:sp>
        <p:nvSpPr>
          <p:cNvPr id="625" name="Google Shape;625;p10"/>
          <p:cNvSpPr/>
          <p:nvPr/>
        </p:nvSpPr>
        <p:spPr>
          <a:xfrm>
            <a:off x="965459" y="5638473"/>
            <a:ext cx="612523" cy="649043"/>
          </a:xfrm>
          <a:prstGeom prst="ellipse">
            <a:avLst/>
          </a:prstGeom>
          <a:solidFill>
            <a:srgbClr val="CAD9E8"/>
          </a:solidFill>
          <a:ln>
            <a:noFill/>
          </a:ln>
        </p:spPr>
        <p:txBody>
          <a:bodyPr spcFirstLastPara="1" wrap="square" lIns="121900" tIns="121900" rIns="121900" bIns="121900" anchor="ctr" anchorCtr="0">
            <a:noAutofit/>
          </a:bodyPr>
          <a:lstStyle/>
          <a:p>
            <a:endParaRPr sz="2400"/>
          </a:p>
        </p:txBody>
      </p:sp>
      <p:pic>
        <p:nvPicPr>
          <p:cNvPr id="626" name="Google Shape;626;p10" descr="Repeat"/>
          <p:cNvPicPr preferRelativeResize="0"/>
          <p:nvPr/>
        </p:nvPicPr>
        <p:blipFill rotWithShape="1">
          <a:blip r:embed="rId7">
            <a:alphaModFix/>
          </a:blip>
          <a:srcRect/>
          <a:stretch/>
        </p:blipFill>
        <p:spPr>
          <a:xfrm>
            <a:off x="991618" y="5672219"/>
            <a:ext cx="524983" cy="524983"/>
          </a:xfrm>
          <a:prstGeom prst="rect">
            <a:avLst/>
          </a:prstGeom>
          <a:noFill/>
          <a:ln>
            <a:noFill/>
          </a:ln>
        </p:spPr>
      </p:pic>
      <p:sp>
        <p:nvSpPr>
          <p:cNvPr id="627" name="Google Shape;627;p10"/>
          <p:cNvSpPr/>
          <p:nvPr/>
        </p:nvSpPr>
        <p:spPr>
          <a:xfrm>
            <a:off x="2996500" y="5664888"/>
            <a:ext cx="612523" cy="649043"/>
          </a:xfrm>
          <a:prstGeom prst="ellipse">
            <a:avLst/>
          </a:prstGeom>
          <a:solidFill>
            <a:srgbClr val="CAD9E8"/>
          </a:solidFill>
          <a:ln>
            <a:noFill/>
          </a:ln>
        </p:spPr>
        <p:txBody>
          <a:bodyPr spcFirstLastPara="1" wrap="square" lIns="121900" tIns="121900" rIns="121900" bIns="121900" anchor="ctr" anchorCtr="0">
            <a:noAutofit/>
          </a:bodyPr>
          <a:lstStyle/>
          <a:p>
            <a:endParaRPr sz="2400"/>
          </a:p>
        </p:txBody>
      </p:sp>
      <p:grpSp>
        <p:nvGrpSpPr>
          <p:cNvPr id="628" name="Google Shape;628;p10"/>
          <p:cNvGrpSpPr/>
          <p:nvPr/>
        </p:nvGrpSpPr>
        <p:grpSpPr>
          <a:xfrm>
            <a:off x="2040064" y="4539203"/>
            <a:ext cx="4631149" cy="584895"/>
            <a:chOff x="267602" y="2988498"/>
            <a:chExt cx="5184785" cy="438671"/>
          </a:xfrm>
        </p:grpSpPr>
        <p:sp>
          <p:nvSpPr>
            <p:cNvPr id="629" name="Google Shape;629;p10"/>
            <p:cNvSpPr/>
            <p:nvPr/>
          </p:nvSpPr>
          <p:spPr>
            <a:xfrm>
              <a:off x="267602" y="2989979"/>
              <a:ext cx="5184785" cy="437190"/>
            </a:xfrm>
            <a:prstGeom prst="roundRect">
              <a:avLst>
                <a:gd name="adj" fmla="val 16667"/>
              </a:avLst>
            </a:prstGeom>
            <a:noFill/>
            <a:ln w="9525" cap="flat" cmpd="sng">
              <a:solidFill>
                <a:schemeClr val="lt1"/>
              </a:solidFill>
              <a:prstDash val="solid"/>
              <a:round/>
              <a:headEnd type="none" w="sm" len="sm"/>
              <a:tailEnd type="none" w="sm" len="sm"/>
            </a:ln>
          </p:spPr>
          <p:txBody>
            <a:bodyPr spcFirstLastPara="1" wrap="square" lIns="121900" tIns="60933" rIns="121900" bIns="60933" anchor="ctr" anchorCtr="0">
              <a:noAutofit/>
            </a:bodyPr>
            <a:lstStyle/>
            <a:p>
              <a:pPr algn="ctr"/>
              <a:endParaRPr sz="2400">
                <a:solidFill>
                  <a:schemeClr val="accent6"/>
                </a:solidFill>
                <a:latin typeface="Verdana"/>
                <a:ea typeface="Verdana"/>
                <a:cs typeface="Verdana"/>
                <a:sym typeface="Verdana"/>
              </a:endParaRPr>
            </a:p>
          </p:txBody>
        </p:sp>
        <p:sp>
          <p:nvSpPr>
            <p:cNvPr id="630" name="Google Shape;630;p10"/>
            <p:cNvSpPr txBox="1"/>
            <p:nvPr/>
          </p:nvSpPr>
          <p:spPr>
            <a:xfrm>
              <a:off x="951377" y="3040743"/>
              <a:ext cx="4315771" cy="369291"/>
            </a:xfrm>
            <a:prstGeom prst="rect">
              <a:avLst/>
            </a:prstGeom>
            <a:noFill/>
            <a:ln>
              <a:noFill/>
            </a:ln>
          </p:spPr>
          <p:txBody>
            <a:bodyPr spcFirstLastPara="1" wrap="square" lIns="121900" tIns="60933" rIns="121900" bIns="60933" anchor="t" anchorCtr="0">
              <a:spAutoFit/>
            </a:bodyPr>
            <a:lstStyle/>
            <a:p>
              <a:r>
                <a:rPr lang="en-US" sz="1600">
                  <a:solidFill>
                    <a:schemeClr val="dk1"/>
                  </a:solidFill>
                  <a:latin typeface="Verdana"/>
                  <a:ea typeface="Verdana"/>
                  <a:cs typeface="Verdana"/>
                  <a:sym typeface="Verdana"/>
                </a:rPr>
                <a:t> Says “</a:t>
              </a:r>
              <a:r>
                <a:rPr lang="en-US" sz="2400">
                  <a:solidFill>
                    <a:schemeClr val="dk1"/>
                  </a:solidFill>
                  <a:latin typeface="Verdana"/>
                  <a:ea typeface="Verdana"/>
                  <a:cs typeface="Verdana"/>
                  <a:sym typeface="Verdana"/>
                </a:rPr>
                <a:t>Need ➕ ⌚?</a:t>
              </a:r>
              <a:r>
                <a:rPr lang="en-US" sz="1600">
                  <a:solidFill>
                    <a:schemeClr val="dk1"/>
                  </a:solidFill>
                  <a:latin typeface="Verdana"/>
                  <a:ea typeface="Verdana"/>
                  <a:cs typeface="Verdana"/>
                  <a:sym typeface="Verdana"/>
                </a:rPr>
                <a:t>”</a:t>
              </a:r>
              <a:endParaRPr sz="2400"/>
            </a:p>
          </p:txBody>
        </p:sp>
        <p:pic>
          <p:nvPicPr>
            <p:cNvPr id="631" name="Google Shape;631;p10" descr="Female Profile"/>
            <p:cNvPicPr preferRelativeResize="0"/>
            <p:nvPr/>
          </p:nvPicPr>
          <p:blipFill rotWithShape="1">
            <a:blip r:embed="rId8">
              <a:alphaModFix/>
            </a:blip>
            <a:srcRect/>
            <a:stretch/>
          </p:blipFill>
          <p:spPr>
            <a:xfrm>
              <a:off x="300547" y="2988498"/>
              <a:ext cx="581451" cy="437190"/>
            </a:xfrm>
            <a:prstGeom prst="rect">
              <a:avLst/>
            </a:prstGeom>
            <a:noFill/>
            <a:ln>
              <a:noFill/>
            </a:ln>
          </p:spPr>
        </p:pic>
      </p:grpSp>
      <p:pic>
        <p:nvPicPr>
          <p:cNvPr id="632" name="Google Shape;632;p10" descr="Pause"/>
          <p:cNvPicPr preferRelativeResize="0"/>
          <p:nvPr/>
        </p:nvPicPr>
        <p:blipFill rotWithShape="1">
          <a:blip r:embed="rId9">
            <a:alphaModFix/>
          </a:blip>
          <a:srcRect/>
          <a:stretch/>
        </p:blipFill>
        <p:spPr>
          <a:xfrm>
            <a:off x="6112479" y="5672139"/>
            <a:ext cx="524983" cy="524983"/>
          </a:xfrm>
          <a:prstGeom prst="rect">
            <a:avLst/>
          </a:prstGeom>
          <a:noFill/>
          <a:ln>
            <a:noFill/>
          </a:ln>
        </p:spPr>
      </p:pic>
      <p:sp>
        <p:nvSpPr>
          <p:cNvPr id="633" name="Google Shape;633;p10"/>
          <p:cNvSpPr txBox="1"/>
          <p:nvPr/>
        </p:nvSpPr>
        <p:spPr>
          <a:xfrm>
            <a:off x="5997853" y="6225485"/>
            <a:ext cx="758584" cy="400055"/>
          </a:xfrm>
          <a:prstGeom prst="rect">
            <a:avLst/>
          </a:prstGeom>
          <a:noFill/>
          <a:ln>
            <a:noFill/>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Wait</a:t>
            </a:r>
            <a:endParaRPr sz="2400"/>
          </a:p>
        </p:txBody>
      </p:sp>
      <p:pic>
        <p:nvPicPr>
          <p:cNvPr id="634" name="Google Shape;634;p10"/>
          <p:cNvPicPr preferRelativeResize="0"/>
          <p:nvPr/>
        </p:nvPicPr>
        <p:blipFill rotWithShape="1">
          <a:blip r:embed="rId10">
            <a:alphaModFix/>
          </a:blip>
          <a:srcRect/>
          <a:stretch/>
        </p:blipFill>
        <p:spPr>
          <a:xfrm>
            <a:off x="88336" y="195036"/>
            <a:ext cx="568920" cy="568920"/>
          </a:xfrm>
          <a:prstGeom prst="rect">
            <a:avLst/>
          </a:prstGeom>
          <a:noFill/>
          <a:ln>
            <a:noFill/>
          </a:ln>
        </p:spPr>
      </p:pic>
      <p:sp>
        <p:nvSpPr>
          <p:cNvPr id="635" name="Google Shape;635;p10"/>
          <p:cNvSpPr txBox="1"/>
          <p:nvPr/>
        </p:nvSpPr>
        <p:spPr>
          <a:xfrm>
            <a:off x="9117718" y="4669487"/>
            <a:ext cx="1950445" cy="400055"/>
          </a:xfrm>
          <a:prstGeom prst="rect">
            <a:avLst/>
          </a:prstGeom>
          <a:noFill/>
          <a:ln>
            <a:noFill/>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Finish</a:t>
            </a:r>
            <a:endParaRPr sz="2400"/>
          </a:p>
        </p:txBody>
      </p:sp>
      <p:pic>
        <p:nvPicPr>
          <p:cNvPr id="636" name="Google Shape;636;p10" descr="Flag"/>
          <p:cNvPicPr preferRelativeResize="0"/>
          <p:nvPr/>
        </p:nvPicPr>
        <p:blipFill rotWithShape="1">
          <a:blip r:embed="rId11">
            <a:alphaModFix/>
          </a:blip>
          <a:srcRect/>
          <a:stretch/>
        </p:blipFill>
        <p:spPr>
          <a:xfrm>
            <a:off x="8285593" y="4590306"/>
            <a:ext cx="538807" cy="538807"/>
          </a:xfrm>
          <a:prstGeom prst="rect">
            <a:avLst/>
          </a:prstGeom>
          <a:noFill/>
          <a:ln>
            <a:noFill/>
          </a:ln>
        </p:spPr>
      </p:pic>
      <p:cxnSp>
        <p:nvCxnSpPr>
          <p:cNvPr id="637" name="Google Shape;637;p10"/>
          <p:cNvCxnSpPr/>
          <p:nvPr/>
        </p:nvCxnSpPr>
        <p:spPr>
          <a:xfrm>
            <a:off x="8090872" y="4389107"/>
            <a:ext cx="3955920" cy="0"/>
          </a:xfrm>
          <a:prstGeom prst="straightConnector1">
            <a:avLst/>
          </a:prstGeom>
          <a:noFill/>
          <a:ln w="9525" cap="flat" cmpd="sng">
            <a:solidFill>
              <a:srgbClr val="0064A0"/>
            </a:solidFill>
            <a:prstDash val="solid"/>
            <a:round/>
            <a:headEnd type="none" w="sm" len="sm"/>
            <a:tailEnd type="none" w="sm" len="sm"/>
          </a:ln>
        </p:spPr>
      </p:cxnSp>
      <p:sp>
        <p:nvSpPr>
          <p:cNvPr id="638" name="Google Shape;638;p10"/>
          <p:cNvSpPr/>
          <p:nvPr/>
        </p:nvSpPr>
        <p:spPr>
          <a:xfrm>
            <a:off x="8090872" y="337412"/>
            <a:ext cx="3971992" cy="4945781"/>
          </a:xfrm>
          <a:prstGeom prst="rect">
            <a:avLst/>
          </a:prstGeom>
          <a:noFill/>
          <a:ln w="25400" cap="flat" cmpd="sng">
            <a:solidFill>
              <a:srgbClr val="004A75"/>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lt1"/>
              </a:solidFill>
              <a:latin typeface="Verdana"/>
              <a:ea typeface="Verdana"/>
              <a:cs typeface="Verdana"/>
              <a:sym typeface="Verdana"/>
            </a:endParaRPr>
          </a:p>
        </p:txBody>
      </p:sp>
      <p:sp>
        <p:nvSpPr>
          <p:cNvPr id="639" name="Google Shape;639;p10"/>
          <p:cNvSpPr/>
          <p:nvPr/>
        </p:nvSpPr>
        <p:spPr>
          <a:xfrm>
            <a:off x="-5477" y="5320320"/>
            <a:ext cx="8080065" cy="1556760"/>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sp>
        <p:nvSpPr>
          <p:cNvPr id="640" name="Google Shape;640;p10"/>
          <p:cNvSpPr/>
          <p:nvPr/>
        </p:nvSpPr>
        <p:spPr>
          <a:xfrm>
            <a:off x="8085543" y="5313747"/>
            <a:ext cx="3971992" cy="1561396"/>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pic>
        <p:nvPicPr>
          <p:cNvPr id="641" name="Google Shape;641;p10"/>
          <p:cNvPicPr preferRelativeResize="0"/>
          <p:nvPr/>
        </p:nvPicPr>
        <p:blipFill rotWithShape="1">
          <a:blip r:embed="rId12">
            <a:alphaModFix/>
          </a:blip>
          <a:srcRect/>
          <a:stretch/>
        </p:blipFill>
        <p:spPr>
          <a:xfrm>
            <a:off x="4549399" y="5715036"/>
            <a:ext cx="704591" cy="572481"/>
          </a:xfrm>
          <a:prstGeom prst="rect">
            <a:avLst/>
          </a:prstGeom>
          <a:noFill/>
          <a:ln>
            <a:noFill/>
          </a:ln>
        </p:spPr>
      </p:pic>
      <p:pic>
        <p:nvPicPr>
          <p:cNvPr id="642" name="Google Shape;642;p10"/>
          <p:cNvPicPr preferRelativeResize="0"/>
          <p:nvPr/>
        </p:nvPicPr>
        <p:blipFill rotWithShape="1">
          <a:blip r:embed="rId10">
            <a:alphaModFix/>
          </a:blip>
          <a:srcRect/>
          <a:stretch/>
        </p:blipFill>
        <p:spPr>
          <a:xfrm>
            <a:off x="88336" y="124152"/>
            <a:ext cx="568920" cy="568920"/>
          </a:xfrm>
          <a:prstGeom prst="rect">
            <a:avLst/>
          </a:prstGeom>
          <a:noFill/>
          <a:ln>
            <a:noFill/>
          </a:ln>
        </p:spPr>
      </p:pic>
      <p:pic>
        <p:nvPicPr>
          <p:cNvPr id="643" name="Google Shape;643;p10" descr="No sign"/>
          <p:cNvPicPr preferRelativeResize="0"/>
          <p:nvPr/>
        </p:nvPicPr>
        <p:blipFill rotWithShape="1">
          <a:blip r:embed="rId13">
            <a:alphaModFix/>
          </a:blip>
          <a:srcRect/>
          <a:stretch/>
        </p:blipFill>
        <p:spPr>
          <a:xfrm>
            <a:off x="3026739" y="5691529"/>
            <a:ext cx="578244" cy="578244"/>
          </a:xfrm>
          <a:prstGeom prst="rect">
            <a:avLst/>
          </a:prstGeom>
          <a:noFill/>
          <a:ln>
            <a:noFill/>
          </a:ln>
        </p:spPr>
      </p:pic>
      <p:pic>
        <p:nvPicPr>
          <p:cNvPr id="644" name="Google Shape;644;p10" descr="Magnifying glass"/>
          <p:cNvPicPr preferRelativeResize="0"/>
          <p:nvPr/>
        </p:nvPicPr>
        <p:blipFill rotWithShape="1">
          <a:blip r:embed="rId14">
            <a:alphaModFix/>
          </a:blip>
          <a:srcRect/>
          <a:stretch/>
        </p:blipFill>
        <p:spPr>
          <a:xfrm>
            <a:off x="8181118" y="3697240"/>
            <a:ext cx="643281" cy="643281"/>
          </a:xfrm>
          <a:prstGeom prst="rect">
            <a:avLst/>
          </a:prstGeom>
          <a:noFill/>
          <a:ln>
            <a:noFill/>
          </a:ln>
        </p:spPr>
      </p:pic>
      <p:pic>
        <p:nvPicPr>
          <p:cNvPr id="645" name="Google Shape;645;p10" descr="A picture containing flower, bird&#10;&#10;Description automatically generated"/>
          <p:cNvPicPr preferRelativeResize="0"/>
          <p:nvPr/>
        </p:nvPicPr>
        <p:blipFill rotWithShape="1">
          <a:blip r:embed="rId15">
            <a:alphaModFix/>
          </a:blip>
          <a:srcRect/>
          <a:stretch/>
        </p:blipFill>
        <p:spPr>
          <a:xfrm>
            <a:off x="2713078" y="187143"/>
            <a:ext cx="2577063" cy="4161197"/>
          </a:xfrm>
          <a:prstGeom prst="rect">
            <a:avLst/>
          </a:prstGeom>
          <a:noFill/>
          <a:ln>
            <a:noFill/>
          </a:ln>
        </p:spPr>
      </p:pic>
      <p:pic>
        <p:nvPicPr>
          <p:cNvPr id="646" name="Google Shape;646;p10" descr="Maze"/>
          <p:cNvPicPr preferRelativeResize="0"/>
          <p:nvPr/>
        </p:nvPicPr>
        <p:blipFill rotWithShape="1">
          <a:blip r:embed="rId16">
            <a:alphaModFix/>
          </a:blip>
          <a:srcRect/>
          <a:stretch/>
        </p:blipFill>
        <p:spPr>
          <a:xfrm>
            <a:off x="8237912" y="2822141"/>
            <a:ext cx="703697" cy="703697"/>
          </a:xfrm>
          <a:prstGeom prst="rect">
            <a:avLst/>
          </a:prstGeom>
          <a:noFill/>
          <a:ln>
            <a:noFill/>
          </a:ln>
        </p:spPr>
      </p:pic>
      <p:grpSp>
        <p:nvGrpSpPr>
          <p:cNvPr id="647" name="Google Shape;647;p10"/>
          <p:cNvGrpSpPr/>
          <p:nvPr/>
        </p:nvGrpSpPr>
        <p:grpSpPr>
          <a:xfrm>
            <a:off x="8568239" y="5452010"/>
            <a:ext cx="3170439" cy="424071"/>
            <a:chOff x="6453565" y="4071650"/>
            <a:chExt cx="2377829" cy="318053"/>
          </a:xfrm>
        </p:grpSpPr>
        <p:sp>
          <p:nvSpPr>
            <p:cNvPr id="648" name="Google Shape;648;p10"/>
            <p:cNvSpPr txBox="1"/>
            <p:nvPr/>
          </p:nvSpPr>
          <p:spPr>
            <a:xfrm flipH="1">
              <a:off x="7462626" y="4085398"/>
              <a:ext cx="1368768" cy="300041"/>
            </a:xfrm>
            <a:prstGeom prst="rect">
              <a:avLst/>
            </a:prstGeom>
            <a:gradFill>
              <a:gsLst>
                <a:gs pos="0">
                  <a:srgbClr val="EDF8FF"/>
                </a:gs>
                <a:gs pos="74000">
                  <a:srgbClr val="61C3FE"/>
                </a:gs>
                <a:gs pos="83000">
                  <a:srgbClr val="61C3FE"/>
                </a:gs>
                <a:gs pos="100000">
                  <a:srgbClr val="95D7FF"/>
                </a:gs>
              </a:gsLst>
              <a:lin ang="5400000" scaled="0"/>
            </a:gradFill>
            <a:ln w="9525" cap="flat" cmpd="sng">
              <a:solidFill>
                <a:schemeClr val="dk1"/>
              </a:solidFill>
              <a:prstDash val="solid"/>
              <a:round/>
              <a:headEnd type="none" w="sm" len="sm"/>
              <a:tailEnd type="none" w="sm" len="sm"/>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      Need </a:t>
              </a:r>
              <a:endParaRPr>
                <a:solidFill>
                  <a:schemeClr val="dk1"/>
                </a:solidFill>
                <a:latin typeface="Verdana"/>
                <a:ea typeface="Verdana"/>
                <a:cs typeface="Verdana"/>
                <a:sym typeface="Verdana"/>
              </a:endParaRPr>
            </a:p>
          </p:txBody>
        </p:sp>
        <p:pic>
          <p:nvPicPr>
            <p:cNvPr id="649" name="Google Shape;649;p10" descr="Close"/>
            <p:cNvPicPr preferRelativeResize="0"/>
            <p:nvPr/>
          </p:nvPicPr>
          <p:blipFill rotWithShape="1">
            <a:blip r:embed="rId17">
              <a:alphaModFix/>
            </a:blip>
            <a:srcRect/>
            <a:stretch/>
          </p:blipFill>
          <p:spPr>
            <a:xfrm>
              <a:off x="7579638" y="4089404"/>
              <a:ext cx="300299" cy="300299"/>
            </a:xfrm>
            <a:prstGeom prst="rect">
              <a:avLst/>
            </a:prstGeom>
            <a:noFill/>
            <a:ln>
              <a:noFill/>
            </a:ln>
          </p:spPr>
        </p:pic>
        <p:pic>
          <p:nvPicPr>
            <p:cNvPr id="650" name="Google Shape;650;p10" descr="A close up of a logo&#10;&#10;Description automatically generated"/>
            <p:cNvPicPr preferRelativeResize="0"/>
            <p:nvPr/>
          </p:nvPicPr>
          <p:blipFill rotWithShape="1">
            <a:blip r:embed="rId18">
              <a:alphaModFix/>
            </a:blip>
            <a:srcRect/>
            <a:stretch/>
          </p:blipFill>
          <p:spPr>
            <a:xfrm>
              <a:off x="8381320" y="4071650"/>
              <a:ext cx="300299" cy="300299"/>
            </a:xfrm>
            <a:prstGeom prst="rect">
              <a:avLst/>
            </a:prstGeom>
            <a:noFill/>
            <a:ln>
              <a:noFill/>
            </a:ln>
          </p:spPr>
        </p:pic>
        <p:sp>
          <p:nvSpPr>
            <p:cNvPr id="651" name="Google Shape;651;p10"/>
            <p:cNvSpPr txBox="1"/>
            <p:nvPr/>
          </p:nvSpPr>
          <p:spPr>
            <a:xfrm flipH="1">
              <a:off x="6453565" y="4088317"/>
              <a:ext cx="781609" cy="300041"/>
            </a:xfrm>
            <a:prstGeom prst="rect">
              <a:avLst/>
            </a:prstGeom>
            <a:gradFill>
              <a:gsLst>
                <a:gs pos="0">
                  <a:srgbClr val="EDF8FF"/>
                </a:gs>
                <a:gs pos="74000">
                  <a:srgbClr val="61C3FE"/>
                </a:gs>
                <a:gs pos="83000">
                  <a:srgbClr val="61C3FE"/>
                </a:gs>
                <a:gs pos="100000">
                  <a:srgbClr val="95D7FF"/>
                </a:gs>
              </a:gsLst>
              <a:lin ang="5400000" scaled="0"/>
            </a:gradFill>
            <a:ln w="9525" cap="flat" cmpd="sng">
              <a:solidFill>
                <a:schemeClr val="dk1"/>
              </a:solidFill>
              <a:prstDash val="solid"/>
              <a:round/>
              <a:headEnd type="none" w="sm" len="sm"/>
              <a:tailEnd type="none" w="sm" len="sm"/>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Yes</a:t>
              </a:r>
              <a:endParaRPr>
                <a:solidFill>
                  <a:schemeClr val="dk1"/>
                </a:solidFill>
                <a:latin typeface="Verdana"/>
                <a:ea typeface="Verdana"/>
                <a:cs typeface="Verdana"/>
                <a:sym typeface="Verdana"/>
              </a:endParaRPr>
            </a:p>
          </p:txBody>
        </p:sp>
        <p:pic>
          <p:nvPicPr>
            <p:cNvPr id="652" name="Google Shape;652;p10" descr="Checkmark"/>
            <p:cNvPicPr preferRelativeResize="0"/>
            <p:nvPr/>
          </p:nvPicPr>
          <p:blipFill rotWithShape="1">
            <a:blip r:embed="rId19">
              <a:alphaModFix/>
            </a:blip>
            <a:srcRect/>
            <a:stretch/>
          </p:blipFill>
          <p:spPr>
            <a:xfrm>
              <a:off x="6838288" y="4117348"/>
              <a:ext cx="300299" cy="254601"/>
            </a:xfrm>
            <a:prstGeom prst="rect">
              <a:avLst/>
            </a:prstGeom>
            <a:noFill/>
            <a:ln>
              <a:noFill/>
            </a:ln>
          </p:spPr>
        </p:pic>
      </p:grpSp>
      <p:pic>
        <p:nvPicPr>
          <p:cNvPr id="653" name="Google Shape;653;p10"/>
          <p:cNvPicPr preferRelativeResize="0"/>
          <p:nvPr/>
        </p:nvPicPr>
        <p:blipFill rotWithShape="1">
          <a:blip r:embed="rId20">
            <a:alphaModFix/>
          </a:blip>
          <a:srcRect/>
          <a:stretch/>
        </p:blipFill>
        <p:spPr>
          <a:xfrm>
            <a:off x="125566" y="6461572"/>
            <a:ext cx="321471" cy="363401"/>
          </a:xfrm>
          <a:prstGeom prst="rect">
            <a:avLst/>
          </a:prstGeom>
          <a:noFill/>
          <a:ln>
            <a:noFill/>
          </a:ln>
        </p:spPr>
      </p:pic>
      <p:sp>
        <p:nvSpPr>
          <p:cNvPr id="654" name="Google Shape;654;p10"/>
          <p:cNvSpPr txBox="1"/>
          <p:nvPr/>
        </p:nvSpPr>
        <p:spPr>
          <a:xfrm>
            <a:off x="346486" y="6518345"/>
            <a:ext cx="3056820" cy="328177"/>
          </a:xfrm>
          <a:prstGeom prst="rect">
            <a:avLst/>
          </a:prstGeom>
          <a:noFill/>
          <a:ln>
            <a:noFill/>
          </a:ln>
        </p:spPr>
        <p:txBody>
          <a:bodyPr spcFirstLastPara="1" wrap="square" lIns="121900" tIns="60933" rIns="121900" bIns="60933" anchor="t" anchorCtr="0">
            <a:spAutoFit/>
          </a:bodyPr>
          <a:lstStyle/>
          <a:p>
            <a:r>
              <a:rPr lang="en-US" sz="1333" i="1">
                <a:solidFill>
                  <a:srgbClr val="BFBFBF"/>
                </a:solidFill>
                <a:latin typeface="Verdana"/>
                <a:ea typeface="Verdana"/>
                <a:cs typeface="Verdana"/>
                <a:sym typeface="Verdana"/>
              </a:rPr>
              <a:t>Ashish’s Screen during interview</a:t>
            </a:r>
            <a:endParaRPr sz="2400"/>
          </a:p>
        </p:txBody>
      </p:sp>
    </p:spTree>
    <p:extLst>
      <p:ext uri="{BB962C8B-B14F-4D97-AF65-F5344CB8AC3E}">
        <p14:creationId xmlns:p14="http://schemas.microsoft.com/office/powerpoint/2010/main" val="3375855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8"/>
                                        </p:tgtEl>
                                        <p:attrNameLst>
                                          <p:attrName>style.visibility</p:attrName>
                                        </p:attrNameLst>
                                      </p:cBhvr>
                                      <p:to>
                                        <p:strVal val="visible"/>
                                      </p:to>
                                    </p:set>
                                    <p:animEffect transition="in" filter="fade">
                                      <p:cBhvr>
                                        <p:cTn id="7" dur="500"/>
                                        <p:tgtEl>
                                          <p:spTgt spid="6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39"/>
                                        </p:tgtEl>
                                        <p:attrNameLst>
                                          <p:attrName>style.visibility</p:attrName>
                                        </p:attrNameLst>
                                      </p:cBhvr>
                                      <p:to>
                                        <p:strVal val="visible"/>
                                      </p:to>
                                    </p:set>
                                    <p:animEffect transition="in" filter="fade">
                                      <p:cBhvr>
                                        <p:cTn id="12" dur="500"/>
                                        <p:tgtEl>
                                          <p:spTgt spid="639"/>
                                        </p:tgtEl>
                                      </p:cBhvr>
                                    </p:animEffect>
                                  </p:childTnLst>
                                </p:cTn>
                              </p:par>
                              <p:par>
                                <p:cTn id="13" presetID="10" presetClass="entr" presetSubtype="0" fill="hold" nodeType="withEffect">
                                  <p:stCondLst>
                                    <p:cond delay="0"/>
                                  </p:stCondLst>
                                  <p:childTnLst>
                                    <p:set>
                                      <p:cBhvr>
                                        <p:cTn id="14" dur="1" fill="hold">
                                          <p:stCondLst>
                                            <p:cond delay="0"/>
                                          </p:stCondLst>
                                        </p:cTn>
                                        <p:tgtEl>
                                          <p:spTgt spid="640"/>
                                        </p:tgtEl>
                                        <p:attrNameLst>
                                          <p:attrName>style.visibility</p:attrName>
                                        </p:attrNameLst>
                                      </p:cBhvr>
                                      <p:to>
                                        <p:strVal val="visible"/>
                                      </p:to>
                                    </p:set>
                                    <p:animEffect transition="in" filter="fade">
                                      <p:cBhvr>
                                        <p:cTn id="15" dur="500"/>
                                        <p:tgtEl>
                                          <p:spTgt spid="64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47"/>
                                        </p:tgtEl>
                                        <p:attrNameLst>
                                          <p:attrName>style.visibility</p:attrName>
                                        </p:attrNameLst>
                                      </p:cBhvr>
                                      <p:to>
                                        <p:strVal val="visible"/>
                                      </p:to>
                                    </p:set>
                                    <p:animEffect transition="in" filter="fade">
                                      <p:cBhvr>
                                        <p:cTn id="20" dur="500"/>
                                        <p:tgtEl>
                                          <p:spTgt spid="6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cxnSp>
        <p:nvCxnSpPr>
          <p:cNvPr id="681" name="Google Shape;681;p12"/>
          <p:cNvCxnSpPr/>
          <p:nvPr/>
        </p:nvCxnSpPr>
        <p:spPr>
          <a:xfrm>
            <a:off x="277766" y="6693363"/>
            <a:ext cx="11657639" cy="0"/>
          </a:xfrm>
          <a:prstGeom prst="straightConnector1">
            <a:avLst/>
          </a:prstGeom>
          <a:noFill/>
          <a:ln w="38100" cap="flat" cmpd="sng">
            <a:solidFill>
              <a:schemeClr val="accent2"/>
            </a:solidFill>
            <a:prstDash val="solid"/>
            <a:round/>
            <a:headEnd type="none" w="sm" len="sm"/>
            <a:tailEnd type="none" w="sm" len="sm"/>
          </a:ln>
          <a:effectLst>
            <a:outerShdw blurRad="40000" dist="23000" dir="5400000" rotWithShape="0">
              <a:srgbClr val="000000">
                <a:alpha val="34901"/>
              </a:srgbClr>
            </a:outerShdw>
          </a:effectLst>
        </p:spPr>
      </p:cxnSp>
      <p:sp>
        <p:nvSpPr>
          <p:cNvPr id="682" name="Google Shape;682;p12"/>
          <p:cNvSpPr txBox="1">
            <a:spLocks noGrp="1"/>
          </p:cNvSpPr>
          <p:nvPr>
            <p:ph type="body" idx="1"/>
          </p:nvPr>
        </p:nvSpPr>
        <p:spPr>
          <a:xfrm>
            <a:off x="528000" y="1412776"/>
            <a:ext cx="11664000" cy="4633200"/>
          </a:xfrm>
          <a:prstGeom prst="rect">
            <a:avLst/>
          </a:prstGeom>
          <a:noFill/>
          <a:ln w="9525" cap="flat" cmpd="sng">
            <a:solidFill>
              <a:schemeClr val="lt1"/>
            </a:solidFill>
            <a:prstDash val="solid"/>
            <a:round/>
            <a:headEnd type="none" w="sm" len="sm"/>
            <a:tailEnd type="none" w="sm" len="sm"/>
          </a:ln>
        </p:spPr>
        <p:txBody>
          <a:bodyPr spcFirstLastPara="1" vert="horz" wrap="square" lIns="121900" tIns="60933" rIns="121900" bIns="60933" rtlCol="0" anchor="t" anchorCtr="0">
            <a:normAutofit/>
          </a:bodyPr>
          <a:lstStyle/>
          <a:p>
            <a:pPr marL="359991" indent="-359991">
              <a:spcBef>
                <a:spcPts val="0"/>
              </a:spcBef>
            </a:pPr>
            <a:r>
              <a:rPr lang="en-US" sz="2400" dirty="0"/>
              <a:t>A host plays </a:t>
            </a:r>
            <a:r>
              <a:rPr lang="en-US" sz="2400" dirty="0">
                <a:solidFill>
                  <a:srgbClr val="92D050"/>
                </a:solidFill>
              </a:rPr>
              <a:t>▶️</a:t>
            </a:r>
            <a:r>
              <a:rPr lang="en-US" sz="2400" dirty="0"/>
              <a:t> a </a:t>
            </a:r>
            <a:r>
              <a:rPr lang="en-US" sz="2400" dirty="0">
                <a:solidFill>
                  <a:srgbClr val="FF0000"/>
                </a:solidFill>
              </a:rPr>
              <a:t>❗️</a:t>
            </a:r>
            <a:r>
              <a:rPr lang="en-US" sz="2400" dirty="0"/>
              <a:t> important in any meeting</a:t>
            </a:r>
            <a:r>
              <a:rPr lang="en-US" sz="2400" dirty="0">
                <a:solidFill>
                  <a:srgbClr val="FFC000"/>
                </a:solidFill>
              </a:rPr>
              <a:t>🤝</a:t>
            </a:r>
            <a:r>
              <a:rPr lang="en-US" sz="2400" dirty="0"/>
              <a:t>.</a:t>
            </a:r>
            <a:endParaRPr dirty="0"/>
          </a:p>
          <a:p>
            <a:pPr marL="359991" indent="-207595">
              <a:buNone/>
            </a:pPr>
            <a:endParaRPr sz="2400" dirty="0"/>
          </a:p>
          <a:p>
            <a:pPr marL="359991" indent="-359991"/>
            <a:r>
              <a:rPr lang="en-US" sz="2400" dirty="0"/>
              <a:t>Meeting</a:t>
            </a:r>
            <a:r>
              <a:rPr lang="en-US" sz="2400" dirty="0">
                <a:solidFill>
                  <a:srgbClr val="FFC000"/>
                </a:solidFill>
              </a:rPr>
              <a:t> 🤝</a:t>
            </a:r>
            <a:r>
              <a:rPr lang="en-US" sz="2400" dirty="0"/>
              <a:t> planner should provide options for the host to fully control </a:t>
            </a:r>
            <a:r>
              <a:rPr lang="en-US" sz="2400" dirty="0">
                <a:solidFill>
                  <a:srgbClr val="898D8D"/>
                </a:solidFill>
              </a:rPr>
              <a:t>🎛️ </a:t>
            </a:r>
            <a:r>
              <a:rPr lang="en-US" sz="2400" dirty="0"/>
              <a:t>the meeting  </a:t>
            </a:r>
            <a:r>
              <a:rPr lang="en-US" sz="2400" dirty="0">
                <a:solidFill>
                  <a:srgbClr val="FFC000"/>
                </a:solidFill>
              </a:rPr>
              <a:t>🤝</a:t>
            </a:r>
            <a:r>
              <a:rPr lang="en-US" sz="2400" dirty="0"/>
              <a:t> with  smart  controls </a:t>
            </a:r>
            <a:r>
              <a:rPr lang="en-US" sz="2400" dirty="0">
                <a:solidFill>
                  <a:srgbClr val="898D8D"/>
                </a:solidFill>
              </a:rPr>
              <a:t>🎛️</a:t>
            </a:r>
            <a:r>
              <a:rPr lang="en-US" sz="2400" dirty="0"/>
              <a:t> and </a:t>
            </a:r>
            <a:r>
              <a:rPr lang="en-US" sz="2400" dirty="0">
                <a:solidFill>
                  <a:srgbClr val="00B050"/>
                </a:solidFill>
              </a:rPr>
              <a:t>➕</a:t>
            </a:r>
            <a:r>
              <a:rPr lang="en-US" sz="2400" dirty="0"/>
              <a:t> topics.</a:t>
            </a:r>
            <a:endParaRPr dirty="0"/>
          </a:p>
          <a:p>
            <a:pPr marL="359991" indent="-207595">
              <a:buNone/>
            </a:pPr>
            <a:endParaRPr sz="2400" dirty="0"/>
          </a:p>
          <a:p>
            <a:pPr marL="359991" indent="-359991"/>
            <a:r>
              <a:rPr lang="en-US" sz="2400" dirty="0"/>
              <a:t>The host should plan the topics and </a:t>
            </a:r>
            <a:r>
              <a:rPr lang="en-US" sz="2400" dirty="0">
                <a:solidFill>
                  <a:srgbClr val="00B050"/>
                </a:solidFill>
              </a:rPr>
              <a:t>➕</a:t>
            </a:r>
            <a:r>
              <a:rPr lang="en-US" sz="2400" dirty="0"/>
              <a:t> duration of the meeting </a:t>
            </a:r>
            <a:r>
              <a:rPr lang="en-US" sz="2400" dirty="0">
                <a:solidFill>
                  <a:srgbClr val="FFC000"/>
                </a:solidFill>
              </a:rPr>
              <a:t>🤝</a:t>
            </a:r>
            <a:r>
              <a:rPr lang="en-US" sz="2400" dirty="0"/>
              <a:t> with more details to support inclusive discussion, so that others comes well prepared for the meeting </a:t>
            </a:r>
            <a:r>
              <a:rPr lang="en-US" sz="2400" dirty="0">
                <a:solidFill>
                  <a:srgbClr val="FFC000"/>
                </a:solidFill>
              </a:rPr>
              <a:t>🤝</a:t>
            </a:r>
            <a:endParaRPr dirty="0"/>
          </a:p>
          <a:p>
            <a:pPr marL="359991" indent="-207595">
              <a:buNone/>
            </a:pPr>
            <a:endParaRPr sz="2400" dirty="0"/>
          </a:p>
          <a:p>
            <a:pPr marL="359991" indent="-359991">
              <a:spcBef>
                <a:spcPts val="533"/>
              </a:spcBef>
            </a:pPr>
            <a:r>
              <a:rPr lang="en-US" sz="2400" dirty="0"/>
              <a:t>Using Inclusive content, as much as possible during meeting 👤</a:t>
            </a:r>
            <a:r>
              <a:rPr lang="en-US" sz="2400" dirty="0">
                <a:solidFill>
                  <a:srgbClr val="FFC000"/>
                </a:solidFill>
              </a:rPr>
              <a:t>🤝</a:t>
            </a:r>
            <a:r>
              <a:rPr lang="en-US" sz="2400" dirty="0"/>
              <a:t>👤</a:t>
            </a:r>
            <a:r>
              <a:rPr lang="en-US" sz="2667" dirty="0"/>
              <a:t>.</a:t>
            </a:r>
            <a:endParaRPr sz="2667" dirty="0"/>
          </a:p>
        </p:txBody>
      </p:sp>
      <p:sp>
        <p:nvSpPr>
          <p:cNvPr id="683" name="Google Shape;683;p12"/>
          <p:cNvSpPr txBox="1">
            <a:spLocks noGrp="1"/>
          </p:cNvSpPr>
          <p:nvPr>
            <p:ph type="title"/>
          </p:nvPr>
        </p:nvSpPr>
        <p:spPr>
          <a:xfrm>
            <a:off x="316247" y="177885"/>
            <a:ext cx="11664000" cy="960107"/>
          </a:xfrm>
          <a:prstGeom prst="rect">
            <a:avLst/>
          </a:prstGeom>
          <a:noFill/>
          <a:ln>
            <a:noFill/>
          </a:ln>
        </p:spPr>
        <p:txBody>
          <a:bodyPr spcFirstLastPara="1" vert="horz" wrap="square" lIns="121900" tIns="60933" rIns="121900" bIns="60933" rtlCol="0" anchor="t" anchorCtr="0">
            <a:noAutofit/>
          </a:bodyPr>
          <a:lstStyle/>
          <a:p>
            <a:r>
              <a:rPr lang="en-US"/>
              <a:t> </a:t>
            </a:r>
            <a:r>
              <a:rPr lang="en-US" sz="3200"/>
              <a:t>Autism Scenario – Virtual Team Meeting</a:t>
            </a:r>
            <a:endParaRPr/>
          </a:p>
        </p:txBody>
      </p:sp>
    </p:spTree>
    <p:extLst>
      <p:ext uri="{BB962C8B-B14F-4D97-AF65-F5344CB8AC3E}">
        <p14:creationId xmlns:p14="http://schemas.microsoft.com/office/powerpoint/2010/main" val="2349904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687"/>
        <p:cNvGrpSpPr/>
        <p:nvPr/>
      </p:nvGrpSpPr>
      <p:grpSpPr>
        <a:xfrm>
          <a:off x="0" y="0"/>
          <a:ext cx="0" cy="0"/>
          <a:chOff x="0" y="0"/>
          <a:chExt cx="0" cy="0"/>
        </a:xfrm>
      </p:grpSpPr>
      <p:sp>
        <p:nvSpPr>
          <p:cNvPr id="688" name="Google Shape;688;p13"/>
          <p:cNvSpPr txBox="1">
            <a:spLocks noGrp="1"/>
          </p:cNvSpPr>
          <p:nvPr>
            <p:ph type="title"/>
          </p:nvPr>
        </p:nvSpPr>
        <p:spPr>
          <a:xfrm>
            <a:off x="288651" y="164637"/>
            <a:ext cx="11664000" cy="756000"/>
          </a:xfrm>
          <a:prstGeom prst="rect">
            <a:avLst/>
          </a:prstGeom>
          <a:noFill/>
          <a:ln>
            <a:noFill/>
          </a:ln>
        </p:spPr>
        <p:txBody>
          <a:bodyPr spcFirstLastPara="1" vert="horz" wrap="square" lIns="121900" tIns="60933" rIns="121900" bIns="60933" rtlCol="0" anchor="t" anchorCtr="0">
            <a:noAutofit/>
          </a:bodyPr>
          <a:lstStyle/>
          <a:p>
            <a:pPr>
              <a:buSzPts val="2400"/>
            </a:pPr>
            <a:r>
              <a:rPr lang="en-US" dirty="0"/>
              <a:t>UNICOM Meeting Planner</a:t>
            </a:r>
            <a:endParaRPr dirty="0"/>
          </a:p>
        </p:txBody>
      </p:sp>
      <p:sp>
        <p:nvSpPr>
          <p:cNvPr id="689" name="Google Shape;689;p13"/>
          <p:cNvSpPr txBox="1">
            <a:spLocks noGrp="1"/>
          </p:cNvSpPr>
          <p:nvPr>
            <p:ph type="sldNum" idx="12"/>
          </p:nvPr>
        </p:nvSpPr>
        <p:spPr>
          <a:xfrm>
            <a:off x="320400" y="6326136"/>
            <a:ext cx="591024" cy="288033"/>
          </a:xfrm>
          <a:prstGeom prst="rect">
            <a:avLst/>
          </a:prstGeom>
          <a:noFill/>
          <a:ln>
            <a:noFill/>
          </a:ln>
        </p:spPr>
        <p:txBody>
          <a:bodyPr spcFirstLastPara="1" wrap="square" lIns="121900" tIns="60933" rIns="121900" bIns="60933" anchor="ctr" anchorCtr="0">
            <a:noAutofit/>
          </a:bodyPr>
          <a:lstStyle/>
          <a:p>
            <a:fld id="{00000000-1234-1234-1234-123412341234}" type="slidenum">
              <a:rPr lang="en-US"/>
              <a:pPr/>
              <a:t>14</a:t>
            </a:fld>
            <a:endParaRPr/>
          </a:p>
        </p:txBody>
      </p:sp>
      <p:sp>
        <p:nvSpPr>
          <p:cNvPr id="690" name="Google Shape;690;p13"/>
          <p:cNvSpPr txBox="1"/>
          <p:nvPr/>
        </p:nvSpPr>
        <p:spPr>
          <a:xfrm>
            <a:off x="7440150" y="3236979"/>
            <a:ext cx="60959" cy="492388"/>
          </a:xfrm>
          <a:prstGeom prst="rect">
            <a:avLst/>
          </a:prstGeom>
          <a:noFill/>
          <a:ln>
            <a:noFill/>
          </a:ln>
        </p:spPr>
        <p:txBody>
          <a:bodyPr spcFirstLastPara="1" wrap="square" lIns="121900" tIns="60933" rIns="121900" bIns="60933" anchor="t" anchorCtr="0">
            <a:spAutoFit/>
          </a:bodyPr>
          <a:lstStyle/>
          <a:p>
            <a:endParaRPr sz="2400">
              <a:solidFill>
                <a:schemeClr val="dk1"/>
              </a:solidFill>
              <a:latin typeface="Verdana"/>
              <a:ea typeface="Verdana"/>
              <a:cs typeface="Verdana"/>
              <a:sym typeface="Verdana"/>
            </a:endParaRPr>
          </a:p>
        </p:txBody>
      </p:sp>
      <p:pic>
        <p:nvPicPr>
          <p:cNvPr id="691" name="Google Shape;691;p13"/>
          <p:cNvPicPr preferRelativeResize="0"/>
          <p:nvPr/>
        </p:nvPicPr>
        <p:blipFill rotWithShape="1">
          <a:blip r:embed="rId3">
            <a:alphaModFix/>
          </a:blip>
          <a:srcRect/>
          <a:stretch/>
        </p:blipFill>
        <p:spPr>
          <a:xfrm>
            <a:off x="320400" y="740702"/>
            <a:ext cx="11551200" cy="5639383"/>
          </a:xfrm>
          <a:prstGeom prst="rect">
            <a:avLst/>
          </a:prstGeom>
          <a:noFill/>
          <a:ln>
            <a:noFill/>
          </a:ln>
        </p:spPr>
      </p:pic>
      <p:grpSp>
        <p:nvGrpSpPr>
          <p:cNvPr id="692" name="Google Shape;692;p13"/>
          <p:cNvGrpSpPr/>
          <p:nvPr/>
        </p:nvGrpSpPr>
        <p:grpSpPr>
          <a:xfrm>
            <a:off x="-2439114" y="3148543"/>
            <a:ext cx="7195292" cy="3650069"/>
            <a:chOff x="-2291785" y="-354359"/>
            <a:chExt cx="5396469" cy="2737552"/>
          </a:xfrm>
        </p:grpSpPr>
        <p:sp>
          <p:nvSpPr>
            <p:cNvPr id="693" name="Google Shape;693;p13"/>
            <p:cNvSpPr/>
            <p:nvPr/>
          </p:nvSpPr>
          <p:spPr>
            <a:xfrm>
              <a:off x="-2291785" y="-354359"/>
              <a:ext cx="2737552" cy="2737552"/>
            </a:xfrm>
            <a:prstGeom prst="blockArc">
              <a:avLst>
                <a:gd name="adj1" fmla="val 18900000"/>
                <a:gd name="adj2" fmla="val 2700000"/>
                <a:gd name="adj3" fmla="val 789"/>
              </a:avLst>
            </a:prstGeom>
            <a:noFill/>
            <a:ln w="25400" cap="flat" cmpd="sng">
              <a:solidFill>
                <a:srgbClr val="006C9B"/>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694" name="Google Shape;694;p13"/>
            <p:cNvSpPr/>
            <p:nvPr/>
          </p:nvSpPr>
          <p:spPr>
            <a:xfrm>
              <a:off x="234212" y="126205"/>
              <a:ext cx="2870471" cy="371658"/>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695" name="Google Shape;695;p13"/>
            <p:cNvSpPr txBox="1"/>
            <p:nvPr/>
          </p:nvSpPr>
          <p:spPr>
            <a:xfrm>
              <a:off x="234212" y="126205"/>
              <a:ext cx="2870471" cy="371658"/>
            </a:xfrm>
            <a:prstGeom prst="rect">
              <a:avLst/>
            </a:prstGeom>
            <a:noFill/>
            <a:ln>
              <a:noFill/>
            </a:ln>
          </p:spPr>
          <p:txBody>
            <a:bodyPr spcFirstLastPara="1" wrap="square" lIns="330300" tIns="23700" rIns="23700" bIns="23700" anchor="ctr" anchorCtr="0">
              <a:noAutofit/>
            </a:bodyPr>
            <a:lstStyle/>
            <a:p>
              <a:pPr>
                <a:lnSpc>
                  <a:spcPct val="90000"/>
                </a:lnSpc>
                <a:buClr>
                  <a:schemeClr val="lt1"/>
                </a:buClr>
                <a:buSzPts val="700"/>
              </a:pPr>
              <a:r>
                <a:rPr lang="en-US" sz="933">
                  <a:solidFill>
                    <a:schemeClr val="lt1"/>
                  </a:solidFill>
                  <a:latin typeface="Verdana"/>
                  <a:ea typeface="Verdana"/>
                  <a:cs typeface="Verdana"/>
                  <a:sym typeface="Verdana"/>
                </a:rPr>
                <a:t>T1: Go-live 📅.</a:t>
              </a:r>
              <a:endParaRPr sz="2400"/>
            </a:p>
            <a:p>
              <a:pPr>
                <a:lnSpc>
                  <a:spcPct val="90000"/>
                </a:lnSpc>
                <a:spcBef>
                  <a:spcPts val="327"/>
                </a:spcBef>
                <a:buClr>
                  <a:schemeClr val="lt1"/>
                </a:buClr>
                <a:buSzPts val="700"/>
              </a:pPr>
              <a:r>
                <a:rPr lang="en-US" sz="933">
                  <a:solidFill>
                    <a:schemeClr val="lt1"/>
                  </a:solidFill>
                  <a:latin typeface="Verdana"/>
                  <a:ea typeface="Verdana"/>
                  <a:cs typeface="Verdana"/>
                  <a:sym typeface="Verdana"/>
                </a:rPr>
                <a:t>       : Arpil to align with client.</a:t>
              </a:r>
              <a:endParaRPr sz="2400"/>
            </a:p>
          </p:txBody>
        </p:sp>
        <p:sp>
          <p:nvSpPr>
            <p:cNvPr id="696" name="Google Shape;696;p13"/>
            <p:cNvSpPr/>
            <p:nvPr/>
          </p:nvSpPr>
          <p:spPr>
            <a:xfrm>
              <a:off x="39140" y="116962"/>
              <a:ext cx="390144" cy="390144"/>
            </a:xfrm>
            <a:prstGeom prst="ellipse">
              <a:avLst/>
            </a:prstGeom>
            <a:solidFill>
              <a:schemeClr val="lt2"/>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697" name="Google Shape;697;p13"/>
            <p:cNvSpPr/>
            <p:nvPr/>
          </p:nvSpPr>
          <p:spPr>
            <a:xfrm>
              <a:off x="413156" y="624231"/>
              <a:ext cx="2691528" cy="312115"/>
            </a:xfrm>
            <a:prstGeom prst="rect">
              <a:avLst/>
            </a:prstGeom>
            <a:gradFill>
              <a:gsLst>
                <a:gs pos="0">
                  <a:srgbClr val="006CA5"/>
                </a:gs>
                <a:gs pos="80000">
                  <a:srgbClr val="008FD9"/>
                </a:gs>
                <a:gs pos="100000">
                  <a:srgbClr val="0092DF"/>
                </a:gs>
              </a:gsLst>
              <a:lin ang="16200000" scaled="0"/>
            </a:gradFill>
            <a:ln w="9525" cap="flat" cmpd="sng">
              <a:solidFill>
                <a:srgbClr val="FFFF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698" name="Google Shape;698;p13"/>
            <p:cNvSpPr txBox="1"/>
            <p:nvPr/>
          </p:nvSpPr>
          <p:spPr>
            <a:xfrm>
              <a:off x="413156" y="624231"/>
              <a:ext cx="2691528" cy="312115"/>
            </a:xfrm>
            <a:prstGeom prst="rect">
              <a:avLst/>
            </a:prstGeom>
            <a:noFill/>
            <a:ln>
              <a:noFill/>
            </a:ln>
          </p:spPr>
          <p:txBody>
            <a:bodyPr spcFirstLastPara="1" wrap="square" lIns="330300" tIns="27067" rIns="27067" bIns="27067" anchor="ctr" anchorCtr="0">
              <a:noAutofit/>
            </a:bodyPr>
            <a:lstStyle/>
            <a:p>
              <a:pPr>
                <a:lnSpc>
                  <a:spcPct val="90000"/>
                </a:lnSpc>
                <a:buClr>
                  <a:schemeClr val="lt1"/>
                </a:buClr>
                <a:buSzPts val="800"/>
              </a:pPr>
              <a:r>
                <a:rPr lang="en-US" sz="1067">
                  <a:solidFill>
                    <a:schemeClr val="lt1"/>
                  </a:solidFill>
                  <a:latin typeface="Verdana"/>
                  <a:ea typeface="Verdana"/>
                  <a:cs typeface="Verdana"/>
                  <a:sym typeface="Verdana"/>
                </a:rPr>
                <a:t>T2: App Testing</a:t>
              </a:r>
              <a:endParaRPr sz="2400"/>
            </a:p>
            <a:p>
              <a:pPr>
                <a:lnSpc>
                  <a:spcPct val="90000"/>
                </a:lnSpc>
                <a:spcBef>
                  <a:spcPts val="373"/>
                </a:spcBef>
                <a:buClr>
                  <a:schemeClr val="lt1"/>
                </a:buClr>
                <a:buSzPts val="800"/>
              </a:pPr>
              <a:r>
                <a:rPr lang="en-US" sz="1067">
                  <a:solidFill>
                    <a:schemeClr val="lt1"/>
                  </a:solidFill>
                  <a:latin typeface="Verdana"/>
                  <a:ea typeface="Verdana"/>
                  <a:cs typeface="Verdana"/>
                  <a:sym typeface="Verdana"/>
                </a:rPr>
                <a:t>    :Ashish Need</a:t>
              </a:r>
              <a:endParaRPr sz="1067">
                <a:solidFill>
                  <a:schemeClr val="lt1"/>
                </a:solidFill>
                <a:latin typeface="Verdana"/>
                <a:ea typeface="Verdana"/>
                <a:cs typeface="Verdana"/>
                <a:sym typeface="Verdana"/>
              </a:endParaRPr>
            </a:p>
          </p:txBody>
        </p:sp>
        <p:sp>
          <p:nvSpPr>
            <p:cNvPr id="699" name="Google Shape;699;p13"/>
            <p:cNvSpPr/>
            <p:nvPr/>
          </p:nvSpPr>
          <p:spPr>
            <a:xfrm>
              <a:off x="222870" y="585217"/>
              <a:ext cx="390144" cy="390144"/>
            </a:xfrm>
            <a:prstGeom prst="ellipse">
              <a:avLst/>
            </a:prstGeom>
            <a:solidFill>
              <a:srgbClr val="FFFFFF"/>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00" name="Google Shape;700;p13"/>
            <p:cNvSpPr/>
            <p:nvPr/>
          </p:nvSpPr>
          <p:spPr>
            <a:xfrm>
              <a:off x="413156" y="1092486"/>
              <a:ext cx="2691528" cy="312115"/>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01" name="Google Shape;701;p13"/>
            <p:cNvSpPr txBox="1"/>
            <p:nvPr/>
          </p:nvSpPr>
          <p:spPr>
            <a:xfrm>
              <a:off x="413156" y="1092486"/>
              <a:ext cx="2691528" cy="312115"/>
            </a:xfrm>
            <a:prstGeom prst="rect">
              <a:avLst/>
            </a:prstGeom>
            <a:noFill/>
            <a:ln>
              <a:noFill/>
            </a:ln>
          </p:spPr>
          <p:txBody>
            <a:bodyPr spcFirstLastPara="1" wrap="square" lIns="330300" tIns="27067" rIns="27067" bIns="27067" anchor="ctr" anchorCtr="0">
              <a:noAutofit/>
            </a:bodyPr>
            <a:lstStyle/>
            <a:p>
              <a:pPr>
                <a:lnSpc>
                  <a:spcPct val="90000"/>
                </a:lnSpc>
                <a:buClr>
                  <a:schemeClr val="dk1"/>
                </a:buClr>
                <a:buSzPts val="800"/>
              </a:pPr>
              <a:endParaRPr sz="1067">
                <a:solidFill>
                  <a:schemeClr val="lt1"/>
                </a:solidFill>
                <a:latin typeface="Verdana"/>
                <a:ea typeface="Verdana"/>
                <a:cs typeface="Verdana"/>
                <a:sym typeface="Verdana"/>
              </a:endParaRPr>
            </a:p>
          </p:txBody>
        </p:sp>
        <p:sp>
          <p:nvSpPr>
            <p:cNvPr id="702" name="Google Shape;702;p13"/>
            <p:cNvSpPr/>
            <p:nvPr/>
          </p:nvSpPr>
          <p:spPr>
            <a:xfrm>
              <a:off x="480781" y="302977"/>
              <a:ext cx="222113" cy="163673"/>
            </a:xfrm>
            <a:prstGeom prst="ellipse">
              <a:avLst/>
            </a:prstGeom>
            <a:blipFill rotWithShape="1">
              <a:blip r:embed="rId4">
                <a:alphaModFix/>
              </a:blip>
              <a:stretch>
                <a:fillRect/>
              </a:stretch>
            </a:blip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03" name="Google Shape;703;p13"/>
            <p:cNvSpPr/>
            <p:nvPr/>
          </p:nvSpPr>
          <p:spPr>
            <a:xfrm>
              <a:off x="234212" y="1560741"/>
              <a:ext cx="2870471" cy="312115"/>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04" name="Google Shape;704;p13"/>
            <p:cNvSpPr txBox="1"/>
            <p:nvPr/>
          </p:nvSpPr>
          <p:spPr>
            <a:xfrm>
              <a:off x="234212" y="1560741"/>
              <a:ext cx="2870471" cy="312115"/>
            </a:xfrm>
            <a:prstGeom prst="rect">
              <a:avLst/>
            </a:prstGeom>
            <a:noFill/>
            <a:ln>
              <a:noFill/>
            </a:ln>
          </p:spPr>
          <p:txBody>
            <a:bodyPr spcFirstLastPara="1" wrap="square" lIns="330300" tIns="27067" rIns="27067" bIns="27067" anchor="ctr" anchorCtr="0">
              <a:noAutofit/>
            </a:bodyPr>
            <a:lstStyle/>
            <a:p>
              <a:pPr>
                <a:lnSpc>
                  <a:spcPct val="90000"/>
                </a:lnSpc>
                <a:buClr>
                  <a:schemeClr val="lt1"/>
                </a:buClr>
                <a:buSzPts val="800"/>
              </a:pPr>
              <a:r>
                <a:rPr lang="en-US" sz="1067">
                  <a:solidFill>
                    <a:schemeClr val="lt1"/>
                  </a:solidFill>
                  <a:latin typeface="Verdana"/>
                  <a:ea typeface="Verdana"/>
                  <a:cs typeface="Verdana"/>
                  <a:sym typeface="Verdana"/>
                </a:rPr>
                <a:t>Questions?</a:t>
              </a:r>
              <a:endParaRPr sz="1067">
                <a:solidFill>
                  <a:schemeClr val="lt1"/>
                </a:solidFill>
                <a:latin typeface="Verdana"/>
                <a:ea typeface="Verdana"/>
                <a:cs typeface="Verdana"/>
                <a:sym typeface="Verdana"/>
              </a:endParaRPr>
            </a:p>
          </p:txBody>
        </p:sp>
        <p:sp>
          <p:nvSpPr>
            <p:cNvPr id="705" name="Google Shape;705;p13"/>
            <p:cNvSpPr/>
            <p:nvPr/>
          </p:nvSpPr>
          <p:spPr>
            <a:xfrm>
              <a:off x="39140" y="1521726"/>
              <a:ext cx="390144" cy="39014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grpSp>
      <p:sp>
        <p:nvSpPr>
          <p:cNvPr id="706" name="Google Shape;706;p13"/>
          <p:cNvSpPr/>
          <p:nvPr/>
        </p:nvSpPr>
        <p:spPr>
          <a:xfrm>
            <a:off x="911425" y="4973578"/>
            <a:ext cx="543777" cy="557119"/>
          </a:xfrm>
          <a:prstGeom prst="ellipse">
            <a:avLst/>
          </a:prstGeom>
          <a:solidFill>
            <a:srgbClr val="FFFFFF"/>
          </a:solidFill>
          <a:ln w="9525" cap="flat" cmpd="sng">
            <a:solidFill>
              <a:srgbClr val="0086C3"/>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07" name="Google Shape;707;p13"/>
          <p:cNvSpPr/>
          <p:nvPr/>
        </p:nvSpPr>
        <p:spPr>
          <a:xfrm>
            <a:off x="4857054" y="3789665"/>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Circuit Topic</a:t>
            </a:r>
            <a:endParaRPr sz="1600">
              <a:solidFill>
                <a:schemeClr val="lt1"/>
              </a:solidFill>
              <a:latin typeface="Verdana"/>
              <a:ea typeface="Verdana"/>
              <a:cs typeface="Verdana"/>
              <a:sym typeface="Verdana"/>
            </a:endParaRPr>
          </a:p>
        </p:txBody>
      </p:sp>
      <p:sp>
        <p:nvSpPr>
          <p:cNvPr id="708" name="Google Shape;708;p13"/>
          <p:cNvSpPr/>
          <p:nvPr/>
        </p:nvSpPr>
        <p:spPr>
          <a:xfrm>
            <a:off x="6741338" y="3789665"/>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Add People</a:t>
            </a:r>
            <a:endParaRPr sz="1600">
              <a:solidFill>
                <a:schemeClr val="lt1"/>
              </a:solidFill>
              <a:latin typeface="Verdana"/>
              <a:ea typeface="Verdana"/>
              <a:cs typeface="Verdana"/>
              <a:sym typeface="Verdana"/>
            </a:endParaRPr>
          </a:p>
        </p:txBody>
      </p:sp>
      <p:sp>
        <p:nvSpPr>
          <p:cNvPr id="709" name="Google Shape;709;p13"/>
          <p:cNvSpPr/>
          <p:nvPr/>
        </p:nvSpPr>
        <p:spPr>
          <a:xfrm>
            <a:off x="4857054" y="5038253"/>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Circuit Topic</a:t>
            </a:r>
            <a:endParaRPr sz="1600">
              <a:solidFill>
                <a:schemeClr val="lt1"/>
              </a:solidFill>
              <a:latin typeface="Verdana"/>
              <a:ea typeface="Verdana"/>
              <a:cs typeface="Verdana"/>
              <a:sym typeface="Verdana"/>
            </a:endParaRPr>
          </a:p>
        </p:txBody>
      </p:sp>
      <p:sp>
        <p:nvSpPr>
          <p:cNvPr id="710" name="Google Shape;710;p13"/>
          <p:cNvSpPr/>
          <p:nvPr/>
        </p:nvSpPr>
        <p:spPr>
          <a:xfrm>
            <a:off x="6741338" y="5038253"/>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Add People</a:t>
            </a:r>
            <a:endParaRPr sz="1600">
              <a:solidFill>
                <a:schemeClr val="lt1"/>
              </a:solidFill>
              <a:latin typeface="Verdana"/>
              <a:ea typeface="Verdana"/>
              <a:cs typeface="Verdana"/>
              <a:sym typeface="Verdana"/>
            </a:endParaRPr>
          </a:p>
        </p:txBody>
      </p:sp>
      <p:sp>
        <p:nvSpPr>
          <p:cNvPr id="711" name="Google Shape;711;p13"/>
          <p:cNvSpPr/>
          <p:nvPr/>
        </p:nvSpPr>
        <p:spPr>
          <a:xfrm>
            <a:off x="4861183" y="4418135"/>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Circuit Topic</a:t>
            </a:r>
            <a:endParaRPr sz="1600">
              <a:solidFill>
                <a:schemeClr val="lt1"/>
              </a:solidFill>
              <a:latin typeface="Verdana"/>
              <a:ea typeface="Verdana"/>
              <a:cs typeface="Verdana"/>
              <a:sym typeface="Verdana"/>
            </a:endParaRPr>
          </a:p>
        </p:txBody>
      </p:sp>
      <p:sp>
        <p:nvSpPr>
          <p:cNvPr id="712" name="Google Shape;712;p13"/>
          <p:cNvSpPr/>
          <p:nvPr/>
        </p:nvSpPr>
        <p:spPr>
          <a:xfrm>
            <a:off x="6745467" y="4418135"/>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Add People</a:t>
            </a:r>
            <a:endParaRPr sz="1600">
              <a:solidFill>
                <a:schemeClr val="lt1"/>
              </a:solidFill>
              <a:latin typeface="Verdana"/>
              <a:ea typeface="Verdana"/>
              <a:cs typeface="Verdana"/>
              <a:sym typeface="Verdana"/>
            </a:endParaRPr>
          </a:p>
        </p:txBody>
      </p:sp>
      <p:sp>
        <p:nvSpPr>
          <p:cNvPr id="713" name="Google Shape;713;p13"/>
          <p:cNvSpPr/>
          <p:nvPr/>
        </p:nvSpPr>
        <p:spPr>
          <a:xfrm>
            <a:off x="4857054" y="5658372"/>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Circuit Topic</a:t>
            </a:r>
            <a:endParaRPr sz="1600">
              <a:solidFill>
                <a:schemeClr val="lt1"/>
              </a:solidFill>
              <a:latin typeface="Verdana"/>
              <a:ea typeface="Verdana"/>
              <a:cs typeface="Verdana"/>
              <a:sym typeface="Verdana"/>
            </a:endParaRPr>
          </a:p>
        </p:txBody>
      </p:sp>
      <p:sp>
        <p:nvSpPr>
          <p:cNvPr id="714" name="Google Shape;714;p13"/>
          <p:cNvSpPr/>
          <p:nvPr/>
        </p:nvSpPr>
        <p:spPr>
          <a:xfrm>
            <a:off x="6741338" y="5658372"/>
            <a:ext cx="1622989" cy="492443"/>
          </a:xfrm>
          <a:prstGeom prst="rect">
            <a:avLst/>
          </a:prstGeom>
          <a:solidFill>
            <a:schemeClr val="accent3"/>
          </a:solidFill>
          <a:ln>
            <a:noFill/>
          </a:ln>
          <a:effectLst>
            <a:outerShdw blurRad="44450" dist="27940" dir="5400000" algn="ctr">
              <a:srgbClr val="000000">
                <a:alpha val="31764"/>
              </a:srgbClr>
            </a:outerShdw>
          </a:effectLst>
        </p:spPr>
        <p:txBody>
          <a:bodyPr spcFirstLastPara="1" wrap="square" lIns="121900" tIns="60933" rIns="121900" bIns="60933" anchor="ctr" anchorCtr="0">
            <a:noAutofit/>
          </a:bodyPr>
          <a:lstStyle/>
          <a:p>
            <a:pPr algn="ctr"/>
            <a:r>
              <a:rPr lang="en-US" sz="1600">
                <a:solidFill>
                  <a:schemeClr val="lt1"/>
                </a:solidFill>
                <a:latin typeface="Verdana"/>
                <a:ea typeface="Verdana"/>
                <a:cs typeface="Verdana"/>
                <a:sym typeface="Verdana"/>
              </a:rPr>
              <a:t>Add People</a:t>
            </a:r>
            <a:endParaRPr sz="1600">
              <a:solidFill>
                <a:schemeClr val="lt1"/>
              </a:solidFill>
              <a:latin typeface="Verdana"/>
              <a:ea typeface="Verdana"/>
              <a:cs typeface="Verdana"/>
              <a:sym typeface="Verdana"/>
            </a:endParaRPr>
          </a:p>
        </p:txBody>
      </p:sp>
      <p:pic>
        <p:nvPicPr>
          <p:cNvPr id="715" name="Google Shape;715;p13"/>
          <p:cNvPicPr preferRelativeResize="0"/>
          <p:nvPr/>
        </p:nvPicPr>
        <p:blipFill rotWithShape="1">
          <a:blip r:embed="rId5">
            <a:alphaModFix/>
          </a:blip>
          <a:srcRect/>
          <a:stretch/>
        </p:blipFill>
        <p:spPr>
          <a:xfrm>
            <a:off x="4305863" y="3813193"/>
            <a:ext cx="421853" cy="388767"/>
          </a:xfrm>
          <a:prstGeom prst="rect">
            <a:avLst/>
          </a:prstGeom>
          <a:noFill/>
          <a:ln>
            <a:noFill/>
          </a:ln>
        </p:spPr>
      </p:pic>
      <p:pic>
        <p:nvPicPr>
          <p:cNvPr id="716" name="Google Shape;716;p13"/>
          <p:cNvPicPr preferRelativeResize="0"/>
          <p:nvPr/>
        </p:nvPicPr>
        <p:blipFill rotWithShape="1">
          <a:blip r:embed="rId6">
            <a:alphaModFix/>
          </a:blip>
          <a:srcRect/>
          <a:stretch/>
        </p:blipFill>
        <p:spPr>
          <a:xfrm>
            <a:off x="3842853" y="3813192"/>
            <a:ext cx="427935" cy="388765"/>
          </a:xfrm>
          <a:prstGeom prst="rect">
            <a:avLst/>
          </a:prstGeom>
          <a:noFill/>
          <a:ln>
            <a:noFill/>
          </a:ln>
        </p:spPr>
      </p:pic>
      <p:sp>
        <p:nvSpPr>
          <p:cNvPr id="717" name="Google Shape;717;p13"/>
          <p:cNvSpPr txBox="1"/>
          <p:nvPr/>
        </p:nvSpPr>
        <p:spPr>
          <a:xfrm>
            <a:off x="1314290" y="1796819"/>
            <a:ext cx="1229317" cy="369277"/>
          </a:xfrm>
          <a:prstGeom prst="rect">
            <a:avLst/>
          </a:prstGeom>
          <a:solidFill>
            <a:schemeClr val="lt2"/>
          </a:solidFill>
          <a:ln>
            <a:noFill/>
          </a:ln>
        </p:spPr>
        <p:txBody>
          <a:bodyPr spcFirstLastPara="1" wrap="square" lIns="121900" tIns="60933" rIns="121900" bIns="60933" anchor="t" anchorCtr="0">
            <a:spAutoFit/>
          </a:bodyPr>
          <a:lstStyle/>
          <a:p>
            <a:r>
              <a:rPr lang="en-US" sz="1600">
                <a:solidFill>
                  <a:schemeClr val="dk1"/>
                </a:solidFill>
                <a:latin typeface="Verdana"/>
                <a:ea typeface="Verdana"/>
                <a:cs typeface="Verdana"/>
                <a:sym typeface="Verdana"/>
              </a:rPr>
              <a:t>Listeners</a:t>
            </a:r>
            <a:endParaRPr sz="1600">
              <a:solidFill>
                <a:schemeClr val="dk1"/>
              </a:solidFill>
              <a:latin typeface="Verdana"/>
              <a:ea typeface="Verdana"/>
              <a:cs typeface="Verdana"/>
              <a:sym typeface="Verdana"/>
            </a:endParaRPr>
          </a:p>
        </p:txBody>
      </p:sp>
      <p:sp>
        <p:nvSpPr>
          <p:cNvPr id="718" name="Google Shape;718;p13"/>
          <p:cNvSpPr txBox="1"/>
          <p:nvPr/>
        </p:nvSpPr>
        <p:spPr>
          <a:xfrm>
            <a:off x="2543607" y="3032568"/>
            <a:ext cx="1240084" cy="492388"/>
          </a:xfrm>
          <a:prstGeom prst="rect">
            <a:avLst/>
          </a:prstGeom>
          <a:noFill/>
          <a:ln>
            <a:noFill/>
          </a:ln>
        </p:spPr>
        <p:txBody>
          <a:bodyPr spcFirstLastPara="1" wrap="square" lIns="121900" tIns="60933" rIns="121900" bIns="60933" anchor="t" anchorCtr="0">
            <a:spAutoFit/>
          </a:bodyPr>
          <a:lstStyle/>
          <a:p>
            <a:r>
              <a:rPr lang="en-US" sz="2400">
                <a:solidFill>
                  <a:schemeClr val="dk1"/>
                </a:solidFill>
                <a:latin typeface="Verdana"/>
                <a:ea typeface="Verdana"/>
                <a:cs typeface="Verdana"/>
                <a:sym typeface="Verdana"/>
              </a:rPr>
              <a:t>Circuit</a:t>
            </a:r>
            <a:endParaRPr sz="2400">
              <a:solidFill>
                <a:schemeClr val="dk1"/>
              </a:solidFill>
              <a:latin typeface="Verdana"/>
              <a:ea typeface="Verdana"/>
              <a:cs typeface="Verdana"/>
              <a:sym typeface="Verdana"/>
            </a:endParaRPr>
          </a:p>
        </p:txBody>
      </p:sp>
      <p:cxnSp>
        <p:nvCxnSpPr>
          <p:cNvPr id="719" name="Google Shape;719;p13"/>
          <p:cNvCxnSpPr/>
          <p:nvPr/>
        </p:nvCxnSpPr>
        <p:spPr>
          <a:xfrm>
            <a:off x="157551" y="164637"/>
            <a:ext cx="11657639" cy="0"/>
          </a:xfrm>
          <a:prstGeom prst="straightConnector1">
            <a:avLst/>
          </a:prstGeom>
          <a:noFill/>
          <a:ln w="38100" cap="flat" cmpd="sng">
            <a:solidFill>
              <a:schemeClr val="accent2"/>
            </a:solidFill>
            <a:prstDash val="solid"/>
            <a:round/>
            <a:headEnd type="none" w="sm" len="sm"/>
            <a:tailEnd type="none" w="sm" len="sm"/>
          </a:ln>
          <a:effectLst>
            <a:outerShdw blurRad="40000" dist="23000" dir="5400000" rotWithShape="0">
              <a:srgbClr val="000000">
                <a:alpha val="34901"/>
              </a:srgbClr>
            </a:outerShdw>
          </a:effectLst>
        </p:spPr>
      </p:cxnSp>
      <p:cxnSp>
        <p:nvCxnSpPr>
          <p:cNvPr id="720" name="Google Shape;720;p13"/>
          <p:cNvCxnSpPr/>
          <p:nvPr/>
        </p:nvCxnSpPr>
        <p:spPr>
          <a:xfrm>
            <a:off x="277766" y="6693363"/>
            <a:ext cx="11657639" cy="0"/>
          </a:xfrm>
          <a:prstGeom prst="straightConnector1">
            <a:avLst/>
          </a:prstGeom>
          <a:noFill/>
          <a:ln w="38100" cap="flat" cmpd="sng">
            <a:solidFill>
              <a:schemeClr val="accent2"/>
            </a:solidFill>
            <a:prstDash val="solid"/>
            <a:round/>
            <a:headEnd type="none" w="sm" len="sm"/>
            <a:tailEnd type="none" w="sm" len="sm"/>
          </a:ln>
          <a:effectLst>
            <a:outerShdw blurRad="40000" dist="23000" dir="5400000" rotWithShape="0">
              <a:srgbClr val="000000">
                <a:alpha val="34901"/>
              </a:srgbClr>
            </a:outerShdw>
          </a:effectLst>
        </p:spPr>
      </p:cxnSp>
      <p:sp>
        <p:nvSpPr>
          <p:cNvPr id="721" name="Google Shape;721;p13"/>
          <p:cNvSpPr/>
          <p:nvPr/>
        </p:nvSpPr>
        <p:spPr>
          <a:xfrm>
            <a:off x="1445465" y="4656752"/>
            <a:ext cx="321471" cy="239736"/>
          </a:xfrm>
          <a:prstGeom prst="ellipse">
            <a:avLst/>
          </a:prstGeom>
          <a:blipFill rotWithShape="1">
            <a:blip r:embed="rId4">
              <a:alphaModFix/>
            </a:blip>
            <a:stretch>
              <a:fillRect/>
            </a:stretch>
          </a:blip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pic>
        <p:nvPicPr>
          <p:cNvPr id="722" name="Google Shape;722;p13" descr="A close up of a logo&#10;&#10;Description automatically generated"/>
          <p:cNvPicPr preferRelativeResize="0"/>
          <p:nvPr/>
        </p:nvPicPr>
        <p:blipFill rotWithShape="1">
          <a:blip r:embed="rId7">
            <a:alphaModFix/>
          </a:blip>
          <a:srcRect/>
          <a:stretch/>
        </p:blipFill>
        <p:spPr>
          <a:xfrm>
            <a:off x="2604386" y="4625909"/>
            <a:ext cx="321471" cy="267497"/>
          </a:xfrm>
          <a:prstGeom prst="rect">
            <a:avLst/>
          </a:prstGeom>
          <a:noFill/>
          <a:ln>
            <a:noFill/>
          </a:ln>
        </p:spPr>
      </p:pic>
      <p:pic>
        <p:nvPicPr>
          <p:cNvPr id="723" name="Google Shape;723;p13"/>
          <p:cNvPicPr preferRelativeResize="0"/>
          <p:nvPr/>
        </p:nvPicPr>
        <p:blipFill rotWithShape="1">
          <a:blip r:embed="rId8">
            <a:alphaModFix/>
          </a:blip>
          <a:srcRect/>
          <a:stretch/>
        </p:blipFill>
        <p:spPr>
          <a:xfrm>
            <a:off x="4393565" y="4480896"/>
            <a:ext cx="321471" cy="363401"/>
          </a:xfrm>
          <a:prstGeom prst="rect">
            <a:avLst/>
          </a:prstGeom>
          <a:noFill/>
          <a:ln>
            <a:noFill/>
          </a:ln>
        </p:spPr>
      </p:pic>
      <p:pic>
        <p:nvPicPr>
          <p:cNvPr id="724" name="Google Shape;724;p13" descr="Meeting"/>
          <p:cNvPicPr preferRelativeResize="0"/>
          <p:nvPr/>
        </p:nvPicPr>
        <p:blipFill rotWithShape="1">
          <a:blip r:embed="rId9">
            <a:alphaModFix/>
          </a:blip>
          <a:srcRect/>
          <a:stretch/>
        </p:blipFill>
        <p:spPr>
          <a:xfrm>
            <a:off x="4174648" y="5632596"/>
            <a:ext cx="540387" cy="540387"/>
          </a:xfrm>
          <a:prstGeom prst="rect">
            <a:avLst/>
          </a:prstGeom>
          <a:noFill/>
          <a:ln>
            <a:noFill/>
          </a:ln>
        </p:spPr>
      </p:pic>
      <p:sp>
        <p:nvSpPr>
          <p:cNvPr id="725" name="Google Shape;725;p13"/>
          <p:cNvSpPr/>
          <p:nvPr/>
        </p:nvSpPr>
        <p:spPr>
          <a:xfrm>
            <a:off x="5039883" y="1220755"/>
            <a:ext cx="672075" cy="756000"/>
          </a:xfrm>
          <a:prstGeom prst="rect">
            <a:avLst/>
          </a:prstGeom>
          <a:solidFill>
            <a:schemeClr val="lt1">
              <a:alpha val="0"/>
            </a:schemeClr>
          </a:solidFill>
          <a:ln w="25400" cap="flat" cmpd="sng">
            <a:solidFill>
              <a:srgbClr val="FF0000"/>
            </a:solidFill>
            <a:prstDash val="solid"/>
            <a:round/>
            <a:headEnd type="none" w="sm" len="sm"/>
            <a:tailEnd type="none" w="sm" len="sm"/>
          </a:ln>
        </p:spPr>
        <p:txBody>
          <a:bodyPr spcFirstLastPara="1" wrap="square" lIns="121900" tIns="60933" rIns="121900" bIns="60933" anchor="ctr" anchorCtr="0">
            <a:noAutofit/>
          </a:bodyPr>
          <a:lstStyle/>
          <a:p>
            <a:pPr algn="ctr"/>
            <a:endParaRPr sz="2400">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3014985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29"/>
        <p:cNvGrpSpPr/>
        <p:nvPr/>
      </p:nvGrpSpPr>
      <p:grpSpPr>
        <a:xfrm>
          <a:off x="0" y="0"/>
          <a:ext cx="0" cy="0"/>
          <a:chOff x="0" y="0"/>
          <a:chExt cx="0" cy="0"/>
        </a:xfrm>
      </p:grpSpPr>
      <p:sp>
        <p:nvSpPr>
          <p:cNvPr id="730" name="Google Shape;730;p14"/>
          <p:cNvSpPr/>
          <p:nvPr/>
        </p:nvSpPr>
        <p:spPr>
          <a:xfrm>
            <a:off x="60960" y="98475"/>
            <a:ext cx="8027963" cy="5148775"/>
          </a:xfrm>
          <a:prstGeom prst="rect">
            <a:avLst/>
          </a:prstGeom>
          <a:solidFill>
            <a:schemeClr val="lt1"/>
          </a:solid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sp>
        <p:nvSpPr>
          <p:cNvPr id="731" name="Google Shape;731;p14"/>
          <p:cNvSpPr/>
          <p:nvPr/>
        </p:nvSpPr>
        <p:spPr>
          <a:xfrm>
            <a:off x="60961" y="5247250"/>
            <a:ext cx="8019104" cy="1621057"/>
          </a:xfrm>
          <a:prstGeom prst="rect">
            <a:avLst/>
          </a:prstGeom>
          <a:solidFill>
            <a:schemeClr val="lt1"/>
          </a:solid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sp>
        <p:nvSpPr>
          <p:cNvPr id="732" name="Google Shape;732;p14"/>
          <p:cNvSpPr/>
          <p:nvPr/>
        </p:nvSpPr>
        <p:spPr>
          <a:xfrm>
            <a:off x="8088922" y="70341"/>
            <a:ext cx="3981159" cy="6787660"/>
          </a:xfrm>
          <a:prstGeom prst="rect">
            <a:avLst/>
          </a:prstGeom>
          <a:solidFill>
            <a:schemeClr val="lt1"/>
          </a:solid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cxnSp>
        <p:nvCxnSpPr>
          <p:cNvPr id="733" name="Google Shape;733;p14"/>
          <p:cNvCxnSpPr/>
          <p:nvPr/>
        </p:nvCxnSpPr>
        <p:spPr>
          <a:xfrm>
            <a:off x="8088922" y="351692"/>
            <a:ext cx="3981159" cy="0"/>
          </a:xfrm>
          <a:prstGeom prst="straightConnector1">
            <a:avLst/>
          </a:prstGeom>
          <a:noFill/>
          <a:ln w="9525" cap="flat" cmpd="sng">
            <a:solidFill>
              <a:srgbClr val="0064A0"/>
            </a:solidFill>
            <a:prstDash val="solid"/>
            <a:round/>
            <a:headEnd type="none" w="sm" len="sm"/>
            <a:tailEnd type="none" w="sm" len="sm"/>
          </a:ln>
        </p:spPr>
      </p:cxnSp>
      <p:sp>
        <p:nvSpPr>
          <p:cNvPr id="734" name="Google Shape;734;p14"/>
          <p:cNvSpPr txBox="1"/>
          <p:nvPr/>
        </p:nvSpPr>
        <p:spPr>
          <a:xfrm>
            <a:off x="8784299" y="52560"/>
            <a:ext cx="2997533" cy="400055"/>
          </a:xfrm>
          <a:prstGeom prst="rect">
            <a:avLst/>
          </a:prstGeom>
          <a:noFill/>
          <a:ln>
            <a:noFill/>
          </a:ln>
        </p:spPr>
        <p:txBody>
          <a:bodyPr spcFirstLastPara="1" wrap="square" lIns="121900" tIns="60933" rIns="121900" bIns="60933" anchor="t" anchorCtr="0">
            <a:spAutoFit/>
          </a:bodyPr>
          <a:lstStyle/>
          <a:p>
            <a:r>
              <a:rPr lang="en-US" b="1">
                <a:solidFill>
                  <a:schemeClr val="dk1"/>
                </a:solidFill>
                <a:latin typeface="Verdana"/>
                <a:ea typeface="Verdana"/>
                <a:cs typeface="Verdana"/>
                <a:sym typeface="Verdana"/>
              </a:rPr>
              <a:t>Current Topic 1(4)</a:t>
            </a:r>
            <a:endParaRPr b="1">
              <a:solidFill>
                <a:schemeClr val="dk1"/>
              </a:solidFill>
              <a:latin typeface="Verdana"/>
              <a:ea typeface="Verdana"/>
              <a:cs typeface="Verdana"/>
              <a:sym typeface="Verdana"/>
            </a:endParaRPr>
          </a:p>
        </p:txBody>
      </p:sp>
      <p:cxnSp>
        <p:nvCxnSpPr>
          <p:cNvPr id="735" name="Google Shape;735;p14"/>
          <p:cNvCxnSpPr/>
          <p:nvPr/>
        </p:nvCxnSpPr>
        <p:spPr>
          <a:xfrm>
            <a:off x="8088922" y="2349307"/>
            <a:ext cx="3981159" cy="0"/>
          </a:xfrm>
          <a:prstGeom prst="straightConnector1">
            <a:avLst/>
          </a:prstGeom>
          <a:noFill/>
          <a:ln w="9525" cap="flat" cmpd="sng">
            <a:solidFill>
              <a:srgbClr val="0064A0"/>
            </a:solidFill>
            <a:prstDash val="solid"/>
            <a:round/>
            <a:headEnd type="none" w="sm" len="sm"/>
            <a:tailEnd type="none" w="sm" len="sm"/>
          </a:ln>
        </p:spPr>
      </p:cxnSp>
      <p:grpSp>
        <p:nvGrpSpPr>
          <p:cNvPr id="736" name="Google Shape;736;p14"/>
          <p:cNvGrpSpPr/>
          <p:nvPr/>
        </p:nvGrpSpPr>
        <p:grpSpPr>
          <a:xfrm>
            <a:off x="5657094" y="-308853"/>
            <a:ext cx="6215991" cy="2916125"/>
            <a:chOff x="5744161" y="-353860"/>
            <a:chExt cx="6215990" cy="2733636"/>
          </a:xfrm>
        </p:grpSpPr>
        <p:grpSp>
          <p:nvGrpSpPr>
            <p:cNvPr id="737" name="Google Shape;737;p14"/>
            <p:cNvGrpSpPr/>
            <p:nvPr/>
          </p:nvGrpSpPr>
          <p:grpSpPr>
            <a:xfrm>
              <a:off x="5744161" y="-353860"/>
              <a:ext cx="5342800" cy="2733636"/>
              <a:chOff x="-2288489" y="-353858"/>
              <a:chExt cx="5342800" cy="2733636"/>
            </a:xfrm>
          </p:grpSpPr>
          <p:sp>
            <p:nvSpPr>
              <p:cNvPr id="738" name="Google Shape;738;p14"/>
              <p:cNvSpPr/>
              <p:nvPr/>
            </p:nvSpPr>
            <p:spPr>
              <a:xfrm>
                <a:off x="-2288489" y="-353858"/>
                <a:ext cx="2733636" cy="2733636"/>
              </a:xfrm>
              <a:prstGeom prst="blockArc">
                <a:avLst>
                  <a:gd name="adj1" fmla="val 18900000"/>
                  <a:gd name="adj2" fmla="val 2700000"/>
                  <a:gd name="adj3" fmla="val 790"/>
                </a:avLst>
              </a:prstGeom>
              <a:noFill/>
              <a:ln w="25400" cap="flat" cmpd="sng">
                <a:solidFill>
                  <a:srgbClr val="006C9B"/>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39" name="Google Shape;739;p14"/>
              <p:cNvSpPr/>
              <p:nvPr/>
            </p:nvSpPr>
            <p:spPr>
              <a:xfrm>
                <a:off x="233889" y="155752"/>
                <a:ext cx="2820422" cy="311667"/>
              </a:xfrm>
              <a:prstGeom prst="rect">
                <a:avLst/>
              </a:prstGeom>
              <a:solidFill>
                <a:schemeClr val="accent5"/>
              </a:soli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40" name="Google Shape;740;p14"/>
              <p:cNvSpPr txBox="1"/>
              <p:nvPr/>
            </p:nvSpPr>
            <p:spPr>
              <a:xfrm>
                <a:off x="233889" y="155752"/>
                <a:ext cx="2820422"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1:Go-live 📅</a:t>
                </a:r>
                <a:endParaRPr sz="2400"/>
              </a:p>
            </p:txBody>
          </p:sp>
          <p:sp>
            <p:nvSpPr>
              <p:cNvPr id="741" name="Google Shape;741;p14"/>
              <p:cNvSpPr/>
              <p:nvPr/>
            </p:nvSpPr>
            <p:spPr>
              <a:xfrm>
                <a:off x="39097" y="116794"/>
                <a:ext cx="389584" cy="389584"/>
              </a:xfrm>
              <a:prstGeom prst="ellipse">
                <a:avLst/>
              </a:prstGeom>
              <a:solidFill>
                <a:srgbClr val="FFFF00"/>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42" name="Google Shape;742;p14"/>
              <p:cNvSpPr/>
              <p:nvPr/>
            </p:nvSpPr>
            <p:spPr>
              <a:xfrm>
                <a:off x="412575" y="623335"/>
                <a:ext cx="2641736" cy="311667"/>
              </a:xfrm>
              <a:prstGeom prst="rect">
                <a:avLst/>
              </a:prstGeom>
              <a:solidFill>
                <a:schemeClr val="accent5"/>
              </a:solidFill>
              <a:ln w="19050" cap="flat" cmpd="sng">
                <a:solidFill>
                  <a:srgbClr val="FFFF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43" name="Google Shape;743;p14"/>
              <p:cNvSpPr txBox="1"/>
              <p:nvPr/>
            </p:nvSpPr>
            <p:spPr>
              <a:xfrm>
                <a:off x="412575" y="623335"/>
                <a:ext cx="2641736"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2: App Testing</a:t>
                </a:r>
                <a:endParaRPr sz="1600">
                  <a:solidFill>
                    <a:schemeClr val="lt1"/>
                  </a:solidFill>
                  <a:latin typeface="Verdana"/>
                  <a:ea typeface="Verdana"/>
                  <a:cs typeface="Verdana"/>
                  <a:sym typeface="Verdana"/>
                </a:endParaRPr>
              </a:p>
            </p:txBody>
          </p:sp>
          <p:sp>
            <p:nvSpPr>
              <p:cNvPr id="744" name="Google Shape;744;p14"/>
              <p:cNvSpPr/>
              <p:nvPr/>
            </p:nvSpPr>
            <p:spPr>
              <a:xfrm>
                <a:off x="222563" y="584376"/>
                <a:ext cx="389584" cy="389584"/>
              </a:xfrm>
              <a:prstGeom prst="ellipse">
                <a:avLst/>
              </a:prstGeom>
              <a:solidFill>
                <a:schemeClr val="lt2"/>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45" name="Google Shape;745;p14"/>
              <p:cNvSpPr/>
              <p:nvPr/>
            </p:nvSpPr>
            <p:spPr>
              <a:xfrm>
                <a:off x="412575" y="1090917"/>
                <a:ext cx="2641736" cy="311667"/>
              </a:xfrm>
              <a:prstGeom prst="rect">
                <a:avLst/>
              </a:prstGeom>
              <a:solidFill>
                <a:schemeClr val="accent5"/>
              </a:soli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46" name="Google Shape;746;p14"/>
              <p:cNvSpPr txBox="1"/>
              <p:nvPr/>
            </p:nvSpPr>
            <p:spPr>
              <a:xfrm>
                <a:off x="412575" y="1090917"/>
                <a:ext cx="2641736"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3: Support Handover..</a:t>
                </a:r>
                <a:endParaRPr sz="1600">
                  <a:solidFill>
                    <a:schemeClr val="lt1"/>
                  </a:solidFill>
                  <a:latin typeface="Verdana"/>
                  <a:ea typeface="Verdana"/>
                  <a:cs typeface="Verdana"/>
                  <a:sym typeface="Verdana"/>
                </a:endParaRPr>
              </a:p>
            </p:txBody>
          </p:sp>
          <p:sp>
            <p:nvSpPr>
              <p:cNvPr id="747" name="Google Shape;747;p14"/>
              <p:cNvSpPr/>
              <p:nvPr/>
            </p:nvSpPr>
            <p:spPr>
              <a:xfrm>
                <a:off x="217783" y="1051958"/>
                <a:ext cx="389584" cy="38958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48" name="Google Shape;748;p14"/>
              <p:cNvSpPr/>
              <p:nvPr/>
            </p:nvSpPr>
            <p:spPr>
              <a:xfrm>
                <a:off x="233889" y="1558499"/>
                <a:ext cx="2820422" cy="311667"/>
              </a:xfrm>
              <a:prstGeom prst="rect">
                <a:avLst/>
              </a:prstGeom>
              <a:solidFill>
                <a:schemeClr val="accent5"/>
              </a:soli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49" name="Google Shape;749;p14"/>
              <p:cNvSpPr txBox="1"/>
              <p:nvPr/>
            </p:nvSpPr>
            <p:spPr>
              <a:xfrm>
                <a:off x="233889" y="1558499"/>
                <a:ext cx="2820422"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4:Conclusion</a:t>
                </a:r>
                <a:endParaRPr sz="1600">
                  <a:solidFill>
                    <a:schemeClr val="lt1"/>
                  </a:solidFill>
                  <a:latin typeface="Verdana"/>
                  <a:ea typeface="Verdana"/>
                  <a:cs typeface="Verdana"/>
                  <a:sym typeface="Verdana"/>
                </a:endParaRPr>
              </a:p>
            </p:txBody>
          </p:sp>
          <p:sp>
            <p:nvSpPr>
              <p:cNvPr id="750" name="Google Shape;750;p14"/>
              <p:cNvSpPr/>
              <p:nvPr/>
            </p:nvSpPr>
            <p:spPr>
              <a:xfrm>
                <a:off x="39097" y="1519541"/>
                <a:ext cx="389584" cy="38958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grpSp>
        <p:pic>
          <p:nvPicPr>
            <p:cNvPr id="751" name="Google Shape;751;p14" descr="User"/>
            <p:cNvPicPr preferRelativeResize="0"/>
            <p:nvPr/>
          </p:nvPicPr>
          <p:blipFill rotWithShape="1">
            <a:blip r:embed="rId3">
              <a:alphaModFix/>
            </a:blip>
            <a:srcRect/>
            <a:stretch/>
          </p:blipFill>
          <p:spPr>
            <a:xfrm>
              <a:off x="11461772" y="361994"/>
              <a:ext cx="400487" cy="324281"/>
            </a:xfrm>
            <a:prstGeom prst="rect">
              <a:avLst/>
            </a:prstGeom>
            <a:noFill/>
            <a:ln>
              <a:noFill/>
            </a:ln>
          </p:spPr>
        </p:pic>
        <p:pic>
          <p:nvPicPr>
            <p:cNvPr id="752" name="Google Shape;752;p14" descr="User"/>
            <p:cNvPicPr preferRelativeResize="0"/>
            <p:nvPr/>
          </p:nvPicPr>
          <p:blipFill rotWithShape="1">
            <a:blip r:embed="rId4">
              <a:alphaModFix/>
            </a:blip>
            <a:srcRect/>
            <a:stretch/>
          </p:blipFill>
          <p:spPr>
            <a:xfrm>
              <a:off x="11559664" y="1350033"/>
              <a:ext cx="400487" cy="344456"/>
            </a:xfrm>
            <a:prstGeom prst="rect">
              <a:avLst/>
            </a:prstGeom>
            <a:noFill/>
            <a:ln>
              <a:noFill/>
            </a:ln>
          </p:spPr>
        </p:pic>
      </p:grpSp>
      <p:sp>
        <p:nvSpPr>
          <p:cNvPr id="753" name="Google Shape;753;p14"/>
          <p:cNvSpPr txBox="1"/>
          <p:nvPr/>
        </p:nvSpPr>
        <p:spPr>
          <a:xfrm>
            <a:off x="8940362" y="2548613"/>
            <a:ext cx="2387833" cy="400055"/>
          </a:xfrm>
          <a:prstGeom prst="rect">
            <a:avLst/>
          </a:prstGeom>
          <a:noFill/>
          <a:ln>
            <a:noFill/>
          </a:ln>
        </p:spPr>
        <p:txBody>
          <a:bodyPr spcFirstLastPara="1" wrap="square" lIns="121900" tIns="60933" rIns="121900" bIns="60933" anchor="t" anchorCtr="0">
            <a:spAutoFit/>
          </a:bodyPr>
          <a:lstStyle/>
          <a:p>
            <a:r>
              <a:rPr lang="en-US" b="1">
                <a:solidFill>
                  <a:schemeClr val="dk1"/>
                </a:solidFill>
                <a:latin typeface="Verdana"/>
                <a:ea typeface="Verdana"/>
                <a:cs typeface="Verdana"/>
                <a:sym typeface="Verdana"/>
              </a:rPr>
              <a:t>Participants(15)</a:t>
            </a:r>
            <a:endParaRPr b="1">
              <a:solidFill>
                <a:schemeClr val="dk1"/>
              </a:solidFill>
              <a:latin typeface="Verdana"/>
              <a:ea typeface="Verdana"/>
              <a:cs typeface="Verdana"/>
              <a:sym typeface="Verdana"/>
            </a:endParaRPr>
          </a:p>
        </p:txBody>
      </p:sp>
      <p:cxnSp>
        <p:nvCxnSpPr>
          <p:cNvPr id="754" name="Google Shape;754;p14"/>
          <p:cNvCxnSpPr/>
          <p:nvPr/>
        </p:nvCxnSpPr>
        <p:spPr>
          <a:xfrm>
            <a:off x="8088922" y="2940148"/>
            <a:ext cx="3981159" cy="0"/>
          </a:xfrm>
          <a:prstGeom prst="straightConnector1">
            <a:avLst/>
          </a:prstGeom>
          <a:noFill/>
          <a:ln w="9525" cap="flat" cmpd="sng">
            <a:solidFill>
              <a:srgbClr val="0064A0"/>
            </a:solidFill>
            <a:prstDash val="solid"/>
            <a:round/>
            <a:headEnd type="none" w="sm" len="sm"/>
            <a:tailEnd type="none" w="sm" len="sm"/>
          </a:ln>
        </p:spPr>
      </p:cxnSp>
      <p:pic>
        <p:nvPicPr>
          <p:cNvPr id="755" name="Google Shape;755;p14"/>
          <p:cNvPicPr preferRelativeResize="0"/>
          <p:nvPr/>
        </p:nvPicPr>
        <p:blipFill rotWithShape="1">
          <a:blip r:embed="rId5">
            <a:alphaModFix/>
          </a:blip>
          <a:srcRect/>
          <a:stretch/>
        </p:blipFill>
        <p:spPr>
          <a:xfrm>
            <a:off x="8149883" y="3053657"/>
            <a:ext cx="3750435" cy="1743075"/>
          </a:xfrm>
          <a:prstGeom prst="rect">
            <a:avLst/>
          </a:prstGeom>
          <a:noFill/>
          <a:ln>
            <a:noFill/>
          </a:ln>
        </p:spPr>
      </p:pic>
      <p:pic>
        <p:nvPicPr>
          <p:cNvPr id="756" name="Google Shape;756;p14" descr="i want to speak"/>
          <p:cNvPicPr preferRelativeResize="0"/>
          <p:nvPr/>
        </p:nvPicPr>
        <p:blipFill rotWithShape="1">
          <a:blip r:embed="rId6">
            <a:alphaModFix/>
          </a:blip>
          <a:srcRect/>
          <a:stretch/>
        </p:blipFill>
        <p:spPr>
          <a:xfrm>
            <a:off x="6511095" y="5519603"/>
            <a:ext cx="766100" cy="745544"/>
          </a:xfrm>
          <a:prstGeom prst="rect">
            <a:avLst/>
          </a:prstGeom>
          <a:solidFill>
            <a:srgbClr val="E5E5E5"/>
          </a:solidFill>
          <a:ln>
            <a:noFill/>
          </a:ln>
          <a:effectLst>
            <a:outerShdw blurRad="44450" dist="27940" dir="5400000" algn="ctr">
              <a:srgbClr val="000000">
                <a:alpha val="31764"/>
              </a:srgbClr>
            </a:outerShdw>
          </a:effectLst>
        </p:spPr>
      </p:pic>
      <p:pic>
        <p:nvPicPr>
          <p:cNvPr id="757" name="Google Shape;757;p14"/>
          <p:cNvPicPr preferRelativeResize="0"/>
          <p:nvPr/>
        </p:nvPicPr>
        <p:blipFill rotWithShape="1">
          <a:blip r:embed="rId7">
            <a:alphaModFix/>
          </a:blip>
          <a:srcRect/>
          <a:stretch/>
        </p:blipFill>
        <p:spPr>
          <a:xfrm>
            <a:off x="4133740" y="-9979"/>
            <a:ext cx="568920" cy="568920"/>
          </a:xfrm>
          <a:prstGeom prst="rect">
            <a:avLst/>
          </a:prstGeom>
          <a:noFill/>
          <a:ln>
            <a:noFill/>
          </a:ln>
        </p:spPr>
      </p:pic>
      <p:pic>
        <p:nvPicPr>
          <p:cNvPr id="758" name="Google Shape;758;p14" descr="Pin"/>
          <p:cNvPicPr preferRelativeResize="0"/>
          <p:nvPr/>
        </p:nvPicPr>
        <p:blipFill rotWithShape="1">
          <a:blip r:embed="rId8">
            <a:alphaModFix/>
          </a:blip>
          <a:srcRect/>
          <a:stretch/>
        </p:blipFill>
        <p:spPr>
          <a:xfrm>
            <a:off x="11549178" y="3773835"/>
            <a:ext cx="280831" cy="280831"/>
          </a:xfrm>
          <a:prstGeom prst="rect">
            <a:avLst/>
          </a:prstGeom>
          <a:noFill/>
          <a:ln>
            <a:noFill/>
          </a:ln>
        </p:spPr>
      </p:pic>
      <p:pic>
        <p:nvPicPr>
          <p:cNvPr id="759" name="Google Shape;759;p14" descr="Pin"/>
          <p:cNvPicPr preferRelativeResize="0"/>
          <p:nvPr/>
        </p:nvPicPr>
        <p:blipFill rotWithShape="1">
          <a:blip r:embed="rId8">
            <a:alphaModFix/>
          </a:blip>
          <a:srcRect/>
          <a:stretch/>
        </p:blipFill>
        <p:spPr>
          <a:xfrm>
            <a:off x="11503553" y="3181108"/>
            <a:ext cx="316667" cy="316667"/>
          </a:xfrm>
          <a:prstGeom prst="rect">
            <a:avLst/>
          </a:prstGeom>
          <a:noFill/>
          <a:ln>
            <a:noFill/>
          </a:ln>
        </p:spPr>
      </p:pic>
      <p:sp>
        <p:nvSpPr>
          <p:cNvPr id="760" name="Google Shape;760;p14"/>
          <p:cNvSpPr/>
          <p:nvPr/>
        </p:nvSpPr>
        <p:spPr>
          <a:xfrm>
            <a:off x="8079732" y="5259949"/>
            <a:ext cx="3968929" cy="1545491"/>
          </a:xfrm>
          <a:prstGeom prst="rect">
            <a:avLst/>
          </a:prstGeom>
          <a:solidFill>
            <a:schemeClr val="lt1"/>
          </a:solid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pic>
        <p:nvPicPr>
          <p:cNvPr id="761" name="Google Shape;761;p14" descr="A close up of a logo&#10;&#10;Description automatically generated"/>
          <p:cNvPicPr preferRelativeResize="0"/>
          <p:nvPr/>
        </p:nvPicPr>
        <p:blipFill rotWithShape="1">
          <a:blip r:embed="rId9">
            <a:alphaModFix/>
          </a:blip>
          <a:srcRect/>
          <a:stretch/>
        </p:blipFill>
        <p:spPr>
          <a:xfrm>
            <a:off x="11202185" y="6096798"/>
            <a:ext cx="711599" cy="711599"/>
          </a:xfrm>
          <a:prstGeom prst="rect">
            <a:avLst/>
          </a:prstGeom>
          <a:noFill/>
          <a:ln>
            <a:noFill/>
          </a:ln>
        </p:spPr>
      </p:pic>
      <p:cxnSp>
        <p:nvCxnSpPr>
          <p:cNvPr id="762" name="Google Shape;762;p14"/>
          <p:cNvCxnSpPr>
            <a:stCxn id="760" idx="1"/>
            <a:endCxn id="760" idx="3"/>
          </p:cNvCxnSpPr>
          <p:nvPr/>
        </p:nvCxnSpPr>
        <p:spPr>
          <a:xfrm>
            <a:off x="8079731" y="6032695"/>
            <a:ext cx="3968800" cy="0"/>
          </a:xfrm>
          <a:prstGeom prst="straightConnector1">
            <a:avLst/>
          </a:prstGeom>
          <a:noFill/>
          <a:ln w="9525" cap="flat" cmpd="sng">
            <a:solidFill>
              <a:srgbClr val="0064A0"/>
            </a:solidFill>
            <a:prstDash val="solid"/>
            <a:round/>
            <a:headEnd type="none" w="sm" len="sm"/>
            <a:tailEnd type="none" w="sm" len="sm"/>
          </a:ln>
        </p:spPr>
      </p:cxnSp>
      <p:sp>
        <p:nvSpPr>
          <p:cNvPr id="763" name="Google Shape;763;p14"/>
          <p:cNvSpPr/>
          <p:nvPr/>
        </p:nvSpPr>
        <p:spPr>
          <a:xfrm>
            <a:off x="8166249" y="6333717"/>
            <a:ext cx="457683" cy="473201"/>
          </a:xfrm>
          <a:prstGeom prst="chevron">
            <a:avLst>
              <a:gd name="adj" fmla="val 50000"/>
            </a:avLst>
          </a:prstGeom>
          <a:gradFill>
            <a:gsLst>
              <a:gs pos="0">
                <a:srgbClr val="9AD9F6"/>
              </a:gs>
              <a:gs pos="4000">
                <a:srgbClr val="FFFFFF">
                  <a:alpha val="0"/>
                </a:srgbClr>
              </a:gs>
              <a:gs pos="100000">
                <a:srgbClr val="78CCF0"/>
              </a:gs>
            </a:gsLst>
            <a:lin ang="16200000" scaled="0"/>
          </a:gradFill>
          <a:ln w="9525" cap="flat" cmpd="sng">
            <a:solidFill>
              <a:srgbClr val="00ADD8"/>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pic>
        <p:nvPicPr>
          <p:cNvPr id="764" name="Google Shape;764;p14"/>
          <p:cNvPicPr preferRelativeResize="0"/>
          <p:nvPr/>
        </p:nvPicPr>
        <p:blipFill rotWithShape="1">
          <a:blip r:embed="rId10">
            <a:alphaModFix/>
          </a:blip>
          <a:srcRect/>
          <a:stretch/>
        </p:blipFill>
        <p:spPr>
          <a:xfrm>
            <a:off x="7007685" y="4773150"/>
            <a:ext cx="528476" cy="528476"/>
          </a:xfrm>
          <a:prstGeom prst="rect">
            <a:avLst/>
          </a:prstGeom>
          <a:noFill/>
          <a:ln>
            <a:noFill/>
          </a:ln>
        </p:spPr>
      </p:pic>
      <p:pic>
        <p:nvPicPr>
          <p:cNvPr id="765" name="Google Shape;765;p14" descr="A close up of a logo&#10;&#10;Description automatically generated"/>
          <p:cNvPicPr preferRelativeResize="0"/>
          <p:nvPr/>
        </p:nvPicPr>
        <p:blipFill rotWithShape="1">
          <a:blip r:embed="rId11">
            <a:alphaModFix/>
          </a:blip>
          <a:srcRect/>
          <a:stretch/>
        </p:blipFill>
        <p:spPr>
          <a:xfrm>
            <a:off x="10919823" y="4258942"/>
            <a:ext cx="537791" cy="537791"/>
          </a:xfrm>
          <a:prstGeom prst="rect">
            <a:avLst/>
          </a:prstGeom>
          <a:noFill/>
          <a:ln>
            <a:noFill/>
          </a:ln>
        </p:spPr>
      </p:pic>
      <p:grpSp>
        <p:nvGrpSpPr>
          <p:cNvPr id="766" name="Google Shape;766;p14"/>
          <p:cNvGrpSpPr/>
          <p:nvPr/>
        </p:nvGrpSpPr>
        <p:grpSpPr>
          <a:xfrm>
            <a:off x="-4274759" y="-191871"/>
            <a:ext cx="11773084" cy="5699820"/>
            <a:chOff x="-3585898" y="-551098"/>
            <a:chExt cx="8829813" cy="4274865"/>
          </a:xfrm>
        </p:grpSpPr>
        <p:sp>
          <p:nvSpPr>
            <p:cNvPr id="767" name="Google Shape;767;p14"/>
            <p:cNvSpPr/>
            <p:nvPr/>
          </p:nvSpPr>
          <p:spPr>
            <a:xfrm>
              <a:off x="-3585898" y="-551098"/>
              <a:ext cx="4274865" cy="4274865"/>
            </a:xfrm>
            <a:prstGeom prst="blockArc">
              <a:avLst>
                <a:gd name="adj1" fmla="val 18900000"/>
                <a:gd name="adj2" fmla="val 2700000"/>
                <a:gd name="adj3" fmla="val 505"/>
              </a:avLst>
            </a:prstGeom>
            <a:noFill/>
            <a:ln w="25400" cap="flat" cmpd="sng">
              <a:solidFill>
                <a:srgbClr val="006C9B"/>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68" name="Google Shape;768;p14"/>
            <p:cNvSpPr/>
            <p:nvPr/>
          </p:nvSpPr>
          <p:spPr>
            <a:xfrm>
              <a:off x="361185" y="197358"/>
              <a:ext cx="4882730" cy="581194"/>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69" name="Google Shape;769;p14"/>
            <p:cNvSpPr txBox="1"/>
            <p:nvPr/>
          </p:nvSpPr>
          <p:spPr>
            <a:xfrm>
              <a:off x="361185" y="197358"/>
              <a:ext cx="4882730" cy="581194"/>
            </a:xfrm>
            <a:prstGeom prst="rect">
              <a:avLst/>
            </a:prstGeom>
            <a:noFill/>
            <a:ln>
              <a:noFill/>
            </a:ln>
          </p:spPr>
          <p:txBody>
            <a:bodyPr spcFirstLastPara="1" wrap="square" lIns="516533" tIns="37233" rIns="37233" bIns="37233" anchor="ctr" anchorCtr="0">
              <a:noAutofit/>
            </a:bodyPr>
            <a:lstStyle/>
            <a:p>
              <a:pPr>
                <a:lnSpc>
                  <a:spcPct val="90000"/>
                </a:lnSpc>
                <a:buClr>
                  <a:schemeClr val="lt1"/>
                </a:buClr>
                <a:buSzPts val="1100"/>
              </a:pPr>
              <a:r>
                <a:rPr lang="en-US" sz="1467">
                  <a:solidFill>
                    <a:schemeClr val="lt1"/>
                  </a:solidFill>
                  <a:latin typeface="Verdana"/>
                  <a:ea typeface="Verdana"/>
                  <a:cs typeface="Verdana"/>
                  <a:sym typeface="Verdana"/>
                </a:rPr>
                <a:t>T1: Go-live 📅.</a:t>
              </a:r>
              <a:endParaRPr sz="2400"/>
            </a:p>
            <a:p>
              <a:pPr>
                <a:lnSpc>
                  <a:spcPct val="90000"/>
                </a:lnSpc>
                <a:spcBef>
                  <a:spcPts val="513"/>
                </a:spcBef>
                <a:buClr>
                  <a:schemeClr val="lt1"/>
                </a:buClr>
                <a:buSzPts val="1100"/>
              </a:pPr>
              <a:r>
                <a:rPr lang="en-US" sz="1467">
                  <a:solidFill>
                    <a:schemeClr val="lt1"/>
                  </a:solidFill>
                  <a:latin typeface="Verdana"/>
                  <a:ea typeface="Verdana"/>
                  <a:cs typeface="Verdana"/>
                  <a:sym typeface="Verdana"/>
                </a:rPr>
                <a:t>       : Arpil to align with client.</a:t>
              </a:r>
              <a:endParaRPr sz="2400"/>
            </a:p>
          </p:txBody>
        </p:sp>
        <p:sp>
          <p:nvSpPr>
            <p:cNvPr id="770" name="Google Shape;770;p14"/>
            <p:cNvSpPr/>
            <p:nvPr/>
          </p:nvSpPr>
          <p:spPr>
            <a:xfrm>
              <a:off x="56133" y="182904"/>
              <a:ext cx="610104" cy="610104"/>
            </a:xfrm>
            <a:prstGeom prst="ellipse">
              <a:avLst/>
            </a:prstGeom>
            <a:solidFill>
              <a:srgbClr val="FFFF00"/>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71" name="Google Shape;771;p14"/>
            <p:cNvSpPr/>
            <p:nvPr/>
          </p:nvSpPr>
          <p:spPr>
            <a:xfrm>
              <a:off x="641014" y="976166"/>
              <a:ext cx="4602901" cy="488083"/>
            </a:xfrm>
            <a:prstGeom prst="rect">
              <a:avLst/>
            </a:prstGeom>
            <a:gradFill>
              <a:gsLst>
                <a:gs pos="0">
                  <a:srgbClr val="006CA5"/>
                </a:gs>
                <a:gs pos="80000">
                  <a:srgbClr val="008FD9"/>
                </a:gs>
                <a:gs pos="100000">
                  <a:srgbClr val="0092DF"/>
                </a:gs>
              </a:gsLst>
              <a:lin ang="16200000" scaled="0"/>
            </a:gradFill>
            <a:ln w="9525" cap="flat" cmpd="sng">
              <a:solidFill>
                <a:srgbClr val="FFFF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72" name="Google Shape;772;p14"/>
            <p:cNvSpPr txBox="1"/>
            <p:nvPr/>
          </p:nvSpPr>
          <p:spPr>
            <a:xfrm>
              <a:off x="641014" y="976166"/>
              <a:ext cx="4602901" cy="488083"/>
            </a:xfrm>
            <a:prstGeom prst="rect">
              <a:avLst/>
            </a:prstGeom>
            <a:noFill/>
            <a:ln>
              <a:noFill/>
            </a:ln>
          </p:spPr>
          <p:txBody>
            <a:bodyPr spcFirstLastPara="1" wrap="square" lIns="5165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2: App Testing</a:t>
              </a:r>
              <a:endParaRPr sz="2400"/>
            </a:p>
            <a:p>
              <a:pPr>
                <a:lnSpc>
                  <a:spcPct val="90000"/>
                </a:lnSpc>
                <a:spcBef>
                  <a:spcPts val="560"/>
                </a:spcBef>
                <a:buClr>
                  <a:schemeClr val="lt1"/>
                </a:buClr>
                <a:buSzPts val="1200"/>
              </a:pPr>
              <a:r>
                <a:rPr lang="en-US" sz="1600">
                  <a:solidFill>
                    <a:schemeClr val="lt1"/>
                  </a:solidFill>
                  <a:latin typeface="Verdana"/>
                  <a:ea typeface="Verdana"/>
                  <a:cs typeface="Verdana"/>
                  <a:sym typeface="Verdana"/>
                </a:rPr>
                <a:t>    :Ashish Need</a:t>
              </a:r>
              <a:endParaRPr sz="1600">
                <a:solidFill>
                  <a:schemeClr val="lt1"/>
                </a:solidFill>
                <a:latin typeface="Verdana"/>
                <a:ea typeface="Verdana"/>
                <a:cs typeface="Verdana"/>
                <a:sym typeface="Verdana"/>
              </a:endParaRPr>
            </a:p>
          </p:txBody>
        </p:sp>
        <p:sp>
          <p:nvSpPr>
            <p:cNvPr id="773" name="Google Shape;773;p14"/>
            <p:cNvSpPr/>
            <p:nvPr/>
          </p:nvSpPr>
          <p:spPr>
            <a:xfrm>
              <a:off x="343448" y="915156"/>
              <a:ext cx="610104" cy="610104"/>
            </a:xfrm>
            <a:prstGeom prst="ellipse">
              <a:avLst/>
            </a:prstGeom>
            <a:solidFill>
              <a:srgbClr val="FFFFFF"/>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74" name="Google Shape;774;p14"/>
            <p:cNvSpPr/>
            <p:nvPr/>
          </p:nvSpPr>
          <p:spPr>
            <a:xfrm>
              <a:off x="641014" y="1708418"/>
              <a:ext cx="4602901" cy="488083"/>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75" name="Google Shape;775;p14"/>
            <p:cNvSpPr txBox="1"/>
            <p:nvPr/>
          </p:nvSpPr>
          <p:spPr>
            <a:xfrm>
              <a:off x="641014" y="1708418"/>
              <a:ext cx="4602901" cy="488083"/>
            </a:xfrm>
            <a:prstGeom prst="rect">
              <a:avLst/>
            </a:prstGeom>
            <a:noFill/>
            <a:ln>
              <a:noFill/>
            </a:ln>
          </p:spPr>
          <p:txBody>
            <a:bodyPr spcFirstLastPara="1" wrap="square" lIns="5165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3: Support Handover</a:t>
              </a:r>
              <a:endParaRPr sz="1600">
                <a:solidFill>
                  <a:schemeClr val="lt1"/>
                </a:solidFill>
                <a:latin typeface="Verdana"/>
                <a:ea typeface="Verdana"/>
                <a:cs typeface="Verdana"/>
                <a:sym typeface="Verdana"/>
              </a:endParaRPr>
            </a:p>
          </p:txBody>
        </p:sp>
        <p:sp>
          <p:nvSpPr>
            <p:cNvPr id="776" name="Google Shape;776;p14"/>
            <p:cNvSpPr/>
            <p:nvPr/>
          </p:nvSpPr>
          <p:spPr>
            <a:xfrm>
              <a:off x="746767" y="473793"/>
              <a:ext cx="347338" cy="255950"/>
            </a:xfrm>
            <a:prstGeom prst="ellipse">
              <a:avLst/>
            </a:prstGeom>
            <a:blipFill rotWithShape="1">
              <a:blip r:embed="rId12">
                <a:alphaModFix/>
              </a:blip>
              <a:stretch>
                <a:fillRect/>
              </a:stretch>
            </a:blip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77" name="Google Shape;777;p14"/>
            <p:cNvSpPr/>
            <p:nvPr/>
          </p:nvSpPr>
          <p:spPr>
            <a:xfrm>
              <a:off x="361185" y="2440670"/>
              <a:ext cx="4882730" cy="488083"/>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778" name="Google Shape;778;p14"/>
            <p:cNvSpPr txBox="1"/>
            <p:nvPr/>
          </p:nvSpPr>
          <p:spPr>
            <a:xfrm>
              <a:off x="361185" y="2440670"/>
              <a:ext cx="4882730" cy="488083"/>
            </a:xfrm>
            <a:prstGeom prst="rect">
              <a:avLst/>
            </a:prstGeom>
            <a:noFill/>
            <a:ln>
              <a:noFill/>
            </a:ln>
          </p:spPr>
          <p:txBody>
            <a:bodyPr spcFirstLastPara="1" wrap="square" lIns="5165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4:Conclusion</a:t>
              </a:r>
              <a:endParaRPr sz="1600">
                <a:solidFill>
                  <a:schemeClr val="lt1"/>
                </a:solidFill>
                <a:latin typeface="Verdana"/>
                <a:ea typeface="Verdana"/>
                <a:cs typeface="Verdana"/>
                <a:sym typeface="Verdana"/>
              </a:endParaRPr>
            </a:p>
          </p:txBody>
        </p:sp>
        <p:sp>
          <p:nvSpPr>
            <p:cNvPr id="779" name="Google Shape;779;p14"/>
            <p:cNvSpPr/>
            <p:nvPr/>
          </p:nvSpPr>
          <p:spPr>
            <a:xfrm>
              <a:off x="56133" y="2379659"/>
              <a:ext cx="610104" cy="61010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grpSp>
      <p:pic>
        <p:nvPicPr>
          <p:cNvPr id="780" name="Google Shape;780;p14" descr="User"/>
          <p:cNvPicPr preferRelativeResize="0"/>
          <p:nvPr/>
        </p:nvPicPr>
        <p:blipFill rotWithShape="1">
          <a:blip r:embed="rId4">
            <a:alphaModFix/>
          </a:blip>
          <a:srcRect/>
          <a:stretch/>
        </p:blipFill>
        <p:spPr>
          <a:xfrm>
            <a:off x="6600939" y="1881014"/>
            <a:ext cx="888804" cy="561661"/>
          </a:xfrm>
          <a:prstGeom prst="rect">
            <a:avLst/>
          </a:prstGeom>
          <a:noFill/>
          <a:ln>
            <a:noFill/>
          </a:ln>
        </p:spPr>
      </p:pic>
      <p:pic>
        <p:nvPicPr>
          <p:cNvPr id="781" name="Google Shape;781;p14" descr="User"/>
          <p:cNvPicPr preferRelativeResize="0"/>
          <p:nvPr/>
        </p:nvPicPr>
        <p:blipFill rotWithShape="1">
          <a:blip r:embed="rId3">
            <a:alphaModFix/>
          </a:blip>
          <a:srcRect/>
          <a:stretch/>
        </p:blipFill>
        <p:spPr>
          <a:xfrm>
            <a:off x="6681631" y="908066"/>
            <a:ext cx="888804" cy="561661"/>
          </a:xfrm>
          <a:prstGeom prst="rect">
            <a:avLst/>
          </a:prstGeom>
          <a:noFill/>
          <a:ln>
            <a:noFill/>
          </a:ln>
        </p:spPr>
      </p:pic>
      <p:pic>
        <p:nvPicPr>
          <p:cNvPr id="782" name="Google Shape;782;p14" descr="User"/>
          <p:cNvPicPr preferRelativeResize="0"/>
          <p:nvPr/>
        </p:nvPicPr>
        <p:blipFill rotWithShape="1">
          <a:blip r:embed="rId4">
            <a:alphaModFix/>
          </a:blip>
          <a:srcRect/>
          <a:stretch/>
        </p:blipFill>
        <p:spPr>
          <a:xfrm>
            <a:off x="6644689" y="2867339"/>
            <a:ext cx="888804" cy="561661"/>
          </a:xfrm>
          <a:prstGeom prst="rect">
            <a:avLst/>
          </a:prstGeom>
          <a:noFill/>
          <a:ln>
            <a:noFill/>
          </a:ln>
        </p:spPr>
      </p:pic>
      <p:pic>
        <p:nvPicPr>
          <p:cNvPr id="783" name="Google Shape;783;p14" descr="A close up of a logo&#10;&#10;Description automatically generated"/>
          <p:cNvPicPr preferRelativeResize="0"/>
          <p:nvPr/>
        </p:nvPicPr>
        <p:blipFill rotWithShape="1">
          <a:blip r:embed="rId13">
            <a:alphaModFix amt="20000"/>
          </a:blip>
          <a:srcRect/>
          <a:stretch/>
        </p:blipFill>
        <p:spPr>
          <a:xfrm>
            <a:off x="7554267" y="4762555"/>
            <a:ext cx="563500" cy="563500"/>
          </a:xfrm>
          <a:prstGeom prst="rect">
            <a:avLst/>
          </a:prstGeom>
          <a:noFill/>
          <a:ln>
            <a:noFill/>
          </a:ln>
        </p:spPr>
      </p:pic>
      <p:pic>
        <p:nvPicPr>
          <p:cNvPr id="784" name="Google Shape;784;p14" descr="A close up of a logo&#10;&#10;Description automatically generated"/>
          <p:cNvPicPr preferRelativeResize="0"/>
          <p:nvPr/>
        </p:nvPicPr>
        <p:blipFill rotWithShape="1">
          <a:blip r:embed="rId14">
            <a:alphaModFix/>
          </a:blip>
          <a:srcRect/>
          <a:stretch/>
        </p:blipFill>
        <p:spPr>
          <a:xfrm>
            <a:off x="4990828" y="5510239"/>
            <a:ext cx="714515" cy="714515"/>
          </a:xfrm>
          <a:prstGeom prst="rect">
            <a:avLst/>
          </a:prstGeom>
          <a:solidFill>
            <a:srgbClr val="E5E5E5"/>
          </a:solidFill>
          <a:ln>
            <a:noFill/>
          </a:ln>
          <a:effectLst>
            <a:outerShdw blurRad="44450" dist="27940" dir="5400000" algn="ctr">
              <a:srgbClr val="000000">
                <a:alpha val="31764"/>
              </a:srgbClr>
            </a:outerShdw>
          </a:effectLst>
        </p:spPr>
      </p:pic>
      <p:pic>
        <p:nvPicPr>
          <p:cNvPr id="785" name="Google Shape;785;p14" descr="Female Profile"/>
          <p:cNvPicPr preferRelativeResize="0"/>
          <p:nvPr/>
        </p:nvPicPr>
        <p:blipFill rotWithShape="1">
          <a:blip r:embed="rId15">
            <a:alphaModFix/>
          </a:blip>
          <a:srcRect/>
          <a:stretch/>
        </p:blipFill>
        <p:spPr>
          <a:xfrm>
            <a:off x="6191788" y="2829311"/>
            <a:ext cx="668464" cy="668464"/>
          </a:xfrm>
          <a:prstGeom prst="rect">
            <a:avLst/>
          </a:prstGeom>
          <a:noFill/>
          <a:ln>
            <a:noFill/>
          </a:ln>
        </p:spPr>
      </p:pic>
      <p:pic>
        <p:nvPicPr>
          <p:cNvPr id="786" name="Google Shape;786;p14" descr="Female Profile"/>
          <p:cNvPicPr preferRelativeResize="0"/>
          <p:nvPr/>
        </p:nvPicPr>
        <p:blipFill rotWithShape="1">
          <a:blip r:embed="rId15">
            <a:alphaModFix/>
          </a:blip>
          <a:srcRect/>
          <a:stretch/>
        </p:blipFill>
        <p:spPr>
          <a:xfrm>
            <a:off x="11184565" y="1508787"/>
            <a:ext cx="373419" cy="373419"/>
          </a:xfrm>
          <a:prstGeom prst="rect">
            <a:avLst/>
          </a:prstGeom>
          <a:noFill/>
          <a:ln>
            <a:noFill/>
          </a:ln>
        </p:spPr>
      </p:pic>
      <p:pic>
        <p:nvPicPr>
          <p:cNvPr id="787" name="Google Shape;787;p14"/>
          <p:cNvPicPr preferRelativeResize="0"/>
          <p:nvPr/>
        </p:nvPicPr>
        <p:blipFill rotWithShape="1">
          <a:blip r:embed="rId16">
            <a:alphaModFix/>
          </a:blip>
          <a:srcRect/>
          <a:stretch/>
        </p:blipFill>
        <p:spPr>
          <a:xfrm>
            <a:off x="8117768" y="79283"/>
            <a:ext cx="277323" cy="277323"/>
          </a:xfrm>
          <a:prstGeom prst="rect">
            <a:avLst/>
          </a:prstGeom>
          <a:solidFill>
            <a:srgbClr val="000000"/>
          </a:solidFill>
          <a:ln>
            <a:noFill/>
          </a:ln>
        </p:spPr>
      </p:pic>
      <p:pic>
        <p:nvPicPr>
          <p:cNvPr id="788" name="Google Shape;788;p14" descr="Help"/>
          <p:cNvPicPr preferRelativeResize="0"/>
          <p:nvPr/>
        </p:nvPicPr>
        <p:blipFill rotWithShape="1">
          <a:blip r:embed="rId17">
            <a:alphaModFix/>
          </a:blip>
          <a:srcRect/>
          <a:stretch/>
        </p:blipFill>
        <p:spPr>
          <a:xfrm>
            <a:off x="7719592" y="79283"/>
            <a:ext cx="369328" cy="369328"/>
          </a:xfrm>
          <a:prstGeom prst="rect">
            <a:avLst/>
          </a:prstGeom>
          <a:noFill/>
          <a:ln>
            <a:noFill/>
          </a:ln>
        </p:spPr>
      </p:pic>
      <p:pic>
        <p:nvPicPr>
          <p:cNvPr id="789" name="Google Shape;789;p14"/>
          <p:cNvPicPr preferRelativeResize="0"/>
          <p:nvPr/>
        </p:nvPicPr>
        <p:blipFill rotWithShape="1">
          <a:blip r:embed="rId18">
            <a:alphaModFix/>
          </a:blip>
          <a:srcRect/>
          <a:stretch/>
        </p:blipFill>
        <p:spPr>
          <a:xfrm>
            <a:off x="6806927" y="944750"/>
            <a:ext cx="647700" cy="596900"/>
          </a:xfrm>
          <a:prstGeom prst="rect">
            <a:avLst/>
          </a:prstGeom>
          <a:noFill/>
          <a:ln>
            <a:noFill/>
          </a:ln>
        </p:spPr>
      </p:pic>
      <p:pic>
        <p:nvPicPr>
          <p:cNvPr id="790" name="Google Shape;790;p14"/>
          <p:cNvPicPr preferRelativeResize="0"/>
          <p:nvPr/>
        </p:nvPicPr>
        <p:blipFill rotWithShape="1">
          <a:blip r:embed="rId19">
            <a:alphaModFix/>
          </a:blip>
          <a:srcRect/>
          <a:stretch/>
        </p:blipFill>
        <p:spPr>
          <a:xfrm>
            <a:off x="6100788" y="944600"/>
            <a:ext cx="657037" cy="596899"/>
          </a:xfrm>
          <a:prstGeom prst="rect">
            <a:avLst/>
          </a:prstGeom>
          <a:noFill/>
          <a:ln>
            <a:noFill/>
          </a:ln>
        </p:spPr>
      </p:pic>
      <p:pic>
        <p:nvPicPr>
          <p:cNvPr id="791" name="Google Shape;791;p14"/>
          <p:cNvPicPr preferRelativeResize="0"/>
          <p:nvPr/>
        </p:nvPicPr>
        <p:blipFill rotWithShape="1">
          <a:blip r:embed="rId20">
            <a:alphaModFix/>
          </a:blip>
          <a:srcRect/>
          <a:stretch/>
        </p:blipFill>
        <p:spPr>
          <a:xfrm>
            <a:off x="6795066" y="3858766"/>
            <a:ext cx="665969" cy="561661"/>
          </a:xfrm>
          <a:prstGeom prst="rect">
            <a:avLst/>
          </a:prstGeom>
          <a:noFill/>
          <a:ln>
            <a:noFill/>
          </a:ln>
        </p:spPr>
      </p:pic>
      <p:sp>
        <p:nvSpPr>
          <p:cNvPr id="792" name="Google Shape;792;p14"/>
          <p:cNvSpPr/>
          <p:nvPr/>
        </p:nvSpPr>
        <p:spPr>
          <a:xfrm>
            <a:off x="1774258" y="2161844"/>
            <a:ext cx="463117" cy="341267"/>
          </a:xfrm>
          <a:prstGeom prst="ellipse">
            <a:avLst/>
          </a:prstGeom>
          <a:blipFill rotWithShape="1">
            <a:blip r:embed="rId12">
              <a:alphaModFix/>
            </a:blip>
            <a:stretch>
              <a:fillRect/>
            </a:stretch>
          </a:blip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pic>
        <p:nvPicPr>
          <p:cNvPr id="793" name="Google Shape;793;p14" descr="A close up of a logo&#10;&#10;Description automatically generated"/>
          <p:cNvPicPr preferRelativeResize="0"/>
          <p:nvPr/>
        </p:nvPicPr>
        <p:blipFill rotWithShape="1">
          <a:blip r:embed="rId21">
            <a:alphaModFix/>
          </a:blip>
          <a:srcRect/>
          <a:stretch/>
        </p:blipFill>
        <p:spPr>
          <a:xfrm>
            <a:off x="3520810" y="2117748"/>
            <a:ext cx="463117" cy="385363"/>
          </a:xfrm>
          <a:prstGeom prst="rect">
            <a:avLst/>
          </a:prstGeom>
          <a:noFill/>
          <a:ln>
            <a:noFill/>
          </a:ln>
        </p:spPr>
      </p:pic>
      <p:pic>
        <p:nvPicPr>
          <p:cNvPr id="794" name="Google Shape;794;p14"/>
          <p:cNvPicPr preferRelativeResize="0"/>
          <p:nvPr/>
        </p:nvPicPr>
        <p:blipFill rotWithShape="1">
          <a:blip r:embed="rId22">
            <a:alphaModFix/>
          </a:blip>
          <a:srcRect/>
          <a:stretch/>
        </p:blipFill>
        <p:spPr>
          <a:xfrm>
            <a:off x="6759856" y="1977866"/>
            <a:ext cx="654553" cy="495300"/>
          </a:xfrm>
          <a:prstGeom prst="rect">
            <a:avLst/>
          </a:prstGeom>
          <a:noFill/>
          <a:ln>
            <a:noFill/>
          </a:ln>
        </p:spPr>
      </p:pic>
      <p:pic>
        <p:nvPicPr>
          <p:cNvPr id="795" name="Google Shape;795;p14"/>
          <p:cNvPicPr preferRelativeResize="0"/>
          <p:nvPr/>
        </p:nvPicPr>
        <p:blipFill rotWithShape="1">
          <a:blip r:embed="rId22">
            <a:alphaModFix/>
          </a:blip>
          <a:srcRect/>
          <a:stretch/>
        </p:blipFill>
        <p:spPr>
          <a:xfrm>
            <a:off x="11371275" y="989058"/>
            <a:ext cx="434608" cy="328868"/>
          </a:xfrm>
          <a:prstGeom prst="rect">
            <a:avLst/>
          </a:prstGeom>
          <a:noFill/>
          <a:ln>
            <a:noFill/>
          </a:ln>
        </p:spPr>
      </p:pic>
      <p:pic>
        <p:nvPicPr>
          <p:cNvPr id="796" name="Google Shape;796;p14"/>
          <p:cNvPicPr preferRelativeResize="0"/>
          <p:nvPr/>
        </p:nvPicPr>
        <p:blipFill rotWithShape="1">
          <a:blip r:embed="rId20">
            <a:alphaModFix/>
          </a:blip>
          <a:srcRect/>
          <a:stretch/>
        </p:blipFill>
        <p:spPr>
          <a:xfrm>
            <a:off x="11456589" y="2107662"/>
            <a:ext cx="373419" cy="314932"/>
          </a:xfrm>
          <a:prstGeom prst="rect">
            <a:avLst/>
          </a:prstGeom>
          <a:noFill/>
          <a:ln>
            <a:noFill/>
          </a:ln>
        </p:spPr>
      </p:pic>
      <p:pic>
        <p:nvPicPr>
          <p:cNvPr id="797" name="Google Shape;797;p14" descr="A close up of a logo&#10;&#10;Description automatically generated"/>
          <p:cNvPicPr preferRelativeResize="0"/>
          <p:nvPr/>
        </p:nvPicPr>
        <p:blipFill rotWithShape="1">
          <a:blip r:embed="rId23">
            <a:alphaModFix/>
          </a:blip>
          <a:srcRect/>
          <a:stretch/>
        </p:blipFill>
        <p:spPr>
          <a:xfrm>
            <a:off x="2945233" y="3858766"/>
            <a:ext cx="652847" cy="652847"/>
          </a:xfrm>
          <a:prstGeom prst="rect">
            <a:avLst/>
          </a:prstGeom>
          <a:noFill/>
          <a:ln>
            <a:noFill/>
          </a:ln>
        </p:spPr>
      </p:pic>
      <p:pic>
        <p:nvPicPr>
          <p:cNvPr id="798" name="Google Shape;798;p14" descr="A close up of a logo&#10;&#10;Description automatically generated"/>
          <p:cNvPicPr preferRelativeResize="0"/>
          <p:nvPr/>
        </p:nvPicPr>
        <p:blipFill rotWithShape="1">
          <a:blip r:embed="rId23">
            <a:alphaModFix/>
          </a:blip>
          <a:srcRect/>
          <a:stretch/>
        </p:blipFill>
        <p:spPr>
          <a:xfrm>
            <a:off x="2964225" y="3830103"/>
            <a:ext cx="652847" cy="652847"/>
          </a:xfrm>
          <a:prstGeom prst="rect">
            <a:avLst/>
          </a:prstGeom>
          <a:noFill/>
          <a:ln>
            <a:noFill/>
          </a:ln>
        </p:spPr>
      </p:pic>
      <p:pic>
        <p:nvPicPr>
          <p:cNvPr id="799" name="Google Shape;799;p14" descr="A close up of a logo&#10;&#10;Description automatically generated"/>
          <p:cNvPicPr preferRelativeResize="0"/>
          <p:nvPr/>
        </p:nvPicPr>
        <p:blipFill rotWithShape="1">
          <a:blip r:embed="rId24">
            <a:alphaModFix/>
          </a:blip>
          <a:srcRect/>
          <a:stretch/>
        </p:blipFill>
        <p:spPr>
          <a:xfrm>
            <a:off x="10149218" y="2161845"/>
            <a:ext cx="384097" cy="384097"/>
          </a:xfrm>
          <a:prstGeom prst="rect">
            <a:avLst/>
          </a:prstGeom>
          <a:noFill/>
          <a:ln>
            <a:noFill/>
          </a:ln>
        </p:spPr>
      </p:pic>
      <p:sp>
        <p:nvSpPr>
          <p:cNvPr id="800" name="Google Shape;800;p14"/>
          <p:cNvSpPr/>
          <p:nvPr/>
        </p:nvSpPr>
        <p:spPr>
          <a:xfrm>
            <a:off x="863805" y="2717851"/>
            <a:ext cx="813472" cy="813472"/>
          </a:xfrm>
          <a:prstGeom prst="ellipse">
            <a:avLst/>
          </a:prstGeom>
          <a:solidFill>
            <a:schemeClr val="lt1"/>
          </a:solidFill>
          <a:ln w="9525" cap="flat" cmpd="sng">
            <a:solidFill>
              <a:srgbClr val="0086C3"/>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pic>
        <p:nvPicPr>
          <p:cNvPr id="801" name="Google Shape;801;p14"/>
          <p:cNvPicPr preferRelativeResize="0"/>
          <p:nvPr/>
        </p:nvPicPr>
        <p:blipFill rotWithShape="1">
          <a:blip r:embed="rId18">
            <a:alphaModFix/>
          </a:blip>
          <a:srcRect/>
          <a:stretch/>
        </p:blipFill>
        <p:spPr>
          <a:xfrm>
            <a:off x="11448716" y="492787"/>
            <a:ext cx="326477" cy="300871"/>
          </a:xfrm>
          <a:prstGeom prst="rect">
            <a:avLst/>
          </a:prstGeom>
          <a:noFill/>
          <a:ln>
            <a:noFill/>
          </a:ln>
        </p:spPr>
      </p:pic>
      <p:pic>
        <p:nvPicPr>
          <p:cNvPr id="802" name="Google Shape;802;p14"/>
          <p:cNvPicPr preferRelativeResize="0"/>
          <p:nvPr/>
        </p:nvPicPr>
        <p:blipFill rotWithShape="1">
          <a:blip r:embed="rId19">
            <a:alphaModFix/>
          </a:blip>
          <a:srcRect/>
          <a:stretch/>
        </p:blipFill>
        <p:spPr>
          <a:xfrm>
            <a:off x="11091831" y="487218"/>
            <a:ext cx="331183" cy="300869"/>
          </a:xfrm>
          <a:prstGeom prst="rect">
            <a:avLst/>
          </a:prstGeom>
          <a:noFill/>
          <a:ln>
            <a:noFill/>
          </a:ln>
        </p:spPr>
      </p:pic>
      <p:sp>
        <p:nvSpPr>
          <p:cNvPr id="803" name="Google Shape;803;p14"/>
          <p:cNvSpPr txBox="1"/>
          <p:nvPr/>
        </p:nvSpPr>
        <p:spPr>
          <a:xfrm>
            <a:off x="656725" y="6106699"/>
            <a:ext cx="848951"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Repeat</a:t>
            </a:r>
            <a:endParaRPr sz="2400"/>
          </a:p>
        </p:txBody>
      </p:sp>
      <p:sp>
        <p:nvSpPr>
          <p:cNvPr id="804" name="Google Shape;804;p14"/>
          <p:cNvSpPr txBox="1"/>
          <p:nvPr/>
        </p:nvSpPr>
        <p:spPr>
          <a:xfrm>
            <a:off x="1975211" y="6089099"/>
            <a:ext cx="914400"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Stop</a:t>
            </a:r>
            <a:endParaRPr sz="2400"/>
          </a:p>
        </p:txBody>
      </p:sp>
      <p:sp>
        <p:nvSpPr>
          <p:cNvPr id="805" name="Google Shape;805;p14"/>
          <p:cNvSpPr/>
          <p:nvPr/>
        </p:nvSpPr>
        <p:spPr>
          <a:xfrm>
            <a:off x="869580" y="5457656"/>
            <a:ext cx="612523" cy="649043"/>
          </a:xfrm>
          <a:prstGeom prst="ellipse">
            <a:avLst/>
          </a:prstGeom>
          <a:solidFill>
            <a:srgbClr val="CAD9E8"/>
          </a:solidFill>
          <a:ln>
            <a:noFill/>
          </a:ln>
        </p:spPr>
        <p:txBody>
          <a:bodyPr spcFirstLastPara="1" wrap="square" lIns="121900" tIns="121900" rIns="121900" bIns="121900" anchor="ctr" anchorCtr="0">
            <a:noAutofit/>
          </a:bodyPr>
          <a:lstStyle/>
          <a:p>
            <a:endParaRPr sz="2400"/>
          </a:p>
        </p:txBody>
      </p:sp>
      <p:pic>
        <p:nvPicPr>
          <p:cNvPr id="806" name="Google Shape;806;p14" descr="Repeat"/>
          <p:cNvPicPr preferRelativeResize="0"/>
          <p:nvPr/>
        </p:nvPicPr>
        <p:blipFill rotWithShape="1">
          <a:blip r:embed="rId25">
            <a:alphaModFix/>
          </a:blip>
          <a:srcRect/>
          <a:stretch/>
        </p:blipFill>
        <p:spPr>
          <a:xfrm>
            <a:off x="904541" y="5519603"/>
            <a:ext cx="524983" cy="524983"/>
          </a:xfrm>
          <a:prstGeom prst="rect">
            <a:avLst/>
          </a:prstGeom>
          <a:noFill/>
          <a:ln>
            <a:noFill/>
          </a:ln>
        </p:spPr>
      </p:pic>
      <p:sp>
        <p:nvSpPr>
          <p:cNvPr id="807" name="Google Shape;807;p14"/>
          <p:cNvSpPr/>
          <p:nvPr/>
        </p:nvSpPr>
        <p:spPr>
          <a:xfrm>
            <a:off x="2036928" y="5495121"/>
            <a:ext cx="612523" cy="649043"/>
          </a:xfrm>
          <a:prstGeom prst="ellipse">
            <a:avLst/>
          </a:prstGeom>
          <a:solidFill>
            <a:srgbClr val="CAD9E8"/>
          </a:solidFill>
          <a:ln>
            <a:noFill/>
          </a:ln>
        </p:spPr>
        <p:txBody>
          <a:bodyPr spcFirstLastPara="1" wrap="square" lIns="121900" tIns="121900" rIns="121900" bIns="121900" anchor="ctr" anchorCtr="0">
            <a:noAutofit/>
          </a:bodyPr>
          <a:lstStyle/>
          <a:p>
            <a:endParaRPr sz="2400"/>
          </a:p>
        </p:txBody>
      </p:sp>
      <p:sp>
        <p:nvSpPr>
          <p:cNvPr id="808" name="Google Shape;808;p14"/>
          <p:cNvSpPr txBox="1"/>
          <p:nvPr/>
        </p:nvSpPr>
        <p:spPr>
          <a:xfrm>
            <a:off x="4687622" y="6265147"/>
            <a:ext cx="1252855"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  No Sound</a:t>
            </a:r>
            <a:endParaRPr sz="2400"/>
          </a:p>
        </p:txBody>
      </p:sp>
      <p:sp>
        <p:nvSpPr>
          <p:cNvPr id="809" name="Google Shape;809;p14"/>
          <p:cNvSpPr txBox="1"/>
          <p:nvPr/>
        </p:nvSpPr>
        <p:spPr>
          <a:xfrm>
            <a:off x="6376114" y="6291493"/>
            <a:ext cx="1252855" cy="53329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  Req. to   </a:t>
            </a:r>
            <a:endParaRPr sz="2400"/>
          </a:p>
          <a:p>
            <a:r>
              <a:rPr lang="en-US" sz="1333">
                <a:solidFill>
                  <a:schemeClr val="dk1"/>
                </a:solidFill>
                <a:latin typeface="Verdana"/>
                <a:ea typeface="Verdana"/>
                <a:cs typeface="Verdana"/>
                <a:sym typeface="Verdana"/>
              </a:rPr>
              <a:t>   Speak</a:t>
            </a:r>
            <a:endParaRPr sz="1333">
              <a:solidFill>
                <a:schemeClr val="dk1"/>
              </a:solidFill>
              <a:latin typeface="Verdana"/>
              <a:ea typeface="Verdana"/>
              <a:cs typeface="Verdana"/>
              <a:sym typeface="Verdana"/>
            </a:endParaRPr>
          </a:p>
        </p:txBody>
      </p:sp>
      <p:grpSp>
        <p:nvGrpSpPr>
          <p:cNvPr id="810" name="Google Shape;810;p14"/>
          <p:cNvGrpSpPr/>
          <p:nvPr/>
        </p:nvGrpSpPr>
        <p:grpSpPr>
          <a:xfrm>
            <a:off x="1389451" y="4637966"/>
            <a:ext cx="6195803" cy="520958"/>
            <a:chOff x="891526" y="3477175"/>
            <a:chExt cx="4646852" cy="390719"/>
          </a:xfrm>
        </p:grpSpPr>
        <p:sp>
          <p:nvSpPr>
            <p:cNvPr id="811" name="Google Shape;811;p14"/>
            <p:cNvSpPr/>
            <p:nvPr/>
          </p:nvSpPr>
          <p:spPr>
            <a:xfrm>
              <a:off x="891526" y="3477175"/>
              <a:ext cx="3752315" cy="390719"/>
            </a:xfrm>
            <a:prstGeom prst="roundRect">
              <a:avLst>
                <a:gd name="adj" fmla="val 16667"/>
              </a:avLst>
            </a:prstGeom>
            <a:solidFill>
              <a:srgbClr val="F2F2F2"/>
            </a:solidFill>
            <a:ln w="25400" cap="flat" cmpd="sng">
              <a:solidFill>
                <a:schemeClr val="lt1"/>
              </a:solidFill>
              <a:prstDash val="solid"/>
              <a:round/>
              <a:headEnd type="none" w="sm" len="sm"/>
              <a:tailEnd type="none" w="sm" len="sm"/>
            </a:ln>
          </p:spPr>
          <p:txBody>
            <a:bodyPr spcFirstLastPara="1" wrap="square" lIns="121900" tIns="60933" rIns="121900" bIns="60933" anchor="ctr" anchorCtr="0">
              <a:noAutofit/>
            </a:bodyPr>
            <a:lstStyle/>
            <a:p>
              <a:pPr algn="ctr"/>
              <a:endParaRPr sz="2400">
                <a:solidFill>
                  <a:schemeClr val="lt1"/>
                </a:solidFill>
                <a:latin typeface="Verdana"/>
                <a:ea typeface="Verdana"/>
                <a:cs typeface="Verdana"/>
                <a:sym typeface="Verdana"/>
              </a:endParaRPr>
            </a:p>
          </p:txBody>
        </p:sp>
        <p:grpSp>
          <p:nvGrpSpPr>
            <p:cNvPr id="812" name="Google Shape;812;p14"/>
            <p:cNvGrpSpPr/>
            <p:nvPr/>
          </p:nvGrpSpPr>
          <p:grpSpPr>
            <a:xfrm>
              <a:off x="954366" y="3483226"/>
              <a:ext cx="4584012" cy="355329"/>
              <a:chOff x="954366" y="3483226"/>
              <a:chExt cx="4584012" cy="355329"/>
            </a:xfrm>
          </p:grpSpPr>
          <p:sp>
            <p:nvSpPr>
              <p:cNvPr id="813" name="Google Shape;813;p14"/>
              <p:cNvSpPr txBox="1"/>
              <p:nvPr/>
            </p:nvSpPr>
            <p:spPr>
              <a:xfrm>
                <a:off x="1339420" y="3560302"/>
                <a:ext cx="4198958" cy="261618"/>
              </a:xfrm>
              <a:prstGeom prst="rect">
                <a:avLst/>
              </a:prstGeom>
              <a:noFill/>
              <a:ln>
                <a:noFill/>
              </a:ln>
            </p:spPr>
            <p:txBody>
              <a:bodyPr spcFirstLastPara="1" wrap="square" lIns="121900" tIns="60933" rIns="121900" bIns="60933" anchor="t" anchorCtr="0">
                <a:spAutoFit/>
              </a:bodyPr>
              <a:lstStyle/>
              <a:p>
                <a:r>
                  <a:rPr lang="en-US" sz="1467" i="1">
                    <a:solidFill>
                      <a:schemeClr val="dk1"/>
                    </a:solidFill>
                    <a:latin typeface="Verdana"/>
                    <a:ea typeface="Verdana"/>
                    <a:cs typeface="Verdana"/>
                    <a:sym typeface="Verdana"/>
                  </a:rPr>
                  <a:t>Says: "Production        on         30/09/2020”</a:t>
                </a:r>
                <a:endParaRPr sz="1467" i="1">
                  <a:solidFill>
                    <a:schemeClr val="dk1"/>
                  </a:solidFill>
                  <a:latin typeface="Verdana"/>
                  <a:ea typeface="Verdana"/>
                  <a:cs typeface="Verdana"/>
                  <a:sym typeface="Verdana"/>
                </a:endParaRPr>
              </a:p>
            </p:txBody>
          </p:sp>
          <p:pic>
            <p:nvPicPr>
              <p:cNvPr id="814" name="Google Shape;814;p14" descr="A close up of a logo&#10;&#10;Description automatically generated"/>
              <p:cNvPicPr preferRelativeResize="0"/>
              <p:nvPr/>
            </p:nvPicPr>
            <p:blipFill rotWithShape="1">
              <a:blip r:embed="rId26">
                <a:alphaModFix/>
              </a:blip>
              <a:srcRect/>
              <a:stretch/>
            </p:blipFill>
            <p:spPr>
              <a:xfrm>
                <a:off x="2662456" y="3518088"/>
                <a:ext cx="394873" cy="320467"/>
              </a:xfrm>
              <a:prstGeom prst="rect">
                <a:avLst/>
              </a:prstGeom>
              <a:noFill/>
              <a:ln>
                <a:noFill/>
              </a:ln>
            </p:spPr>
          </p:pic>
          <p:pic>
            <p:nvPicPr>
              <p:cNvPr id="815" name="Google Shape;815;p14" descr="Daily calendar"/>
              <p:cNvPicPr preferRelativeResize="0"/>
              <p:nvPr/>
            </p:nvPicPr>
            <p:blipFill rotWithShape="1">
              <a:blip r:embed="rId27">
                <a:alphaModFix/>
              </a:blip>
              <a:srcRect/>
              <a:stretch/>
            </p:blipFill>
            <p:spPr>
              <a:xfrm>
                <a:off x="3315429" y="3483226"/>
                <a:ext cx="320467" cy="320467"/>
              </a:xfrm>
              <a:prstGeom prst="rect">
                <a:avLst/>
              </a:prstGeom>
              <a:noFill/>
              <a:ln>
                <a:noFill/>
              </a:ln>
            </p:spPr>
          </p:pic>
          <p:pic>
            <p:nvPicPr>
              <p:cNvPr id="816" name="Google Shape;816;p14"/>
              <p:cNvPicPr preferRelativeResize="0"/>
              <p:nvPr/>
            </p:nvPicPr>
            <p:blipFill rotWithShape="1">
              <a:blip r:embed="rId18">
                <a:alphaModFix/>
              </a:blip>
              <a:srcRect/>
              <a:stretch/>
            </p:blipFill>
            <p:spPr>
              <a:xfrm>
                <a:off x="954366" y="3496169"/>
                <a:ext cx="371474" cy="342339"/>
              </a:xfrm>
              <a:prstGeom prst="rect">
                <a:avLst/>
              </a:prstGeom>
              <a:noFill/>
              <a:ln>
                <a:noFill/>
              </a:ln>
            </p:spPr>
          </p:pic>
        </p:grpSp>
      </p:grpSp>
      <p:grpSp>
        <p:nvGrpSpPr>
          <p:cNvPr id="817" name="Google Shape;817;p14"/>
          <p:cNvGrpSpPr/>
          <p:nvPr/>
        </p:nvGrpSpPr>
        <p:grpSpPr>
          <a:xfrm>
            <a:off x="37368" y="2207353"/>
            <a:ext cx="823889" cy="1323916"/>
            <a:chOff x="28025" y="1655515"/>
            <a:chExt cx="617917" cy="992937"/>
          </a:xfrm>
        </p:grpSpPr>
        <p:pic>
          <p:nvPicPr>
            <p:cNvPr id="818" name="Google Shape;818;p14" descr="Chevron arrows"/>
            <p:cNvPicPr preferRelativeResize="0"/>
            <p:nvPr/>
          </p:nvPicPr>
          <p:blipFill rotWithShape="1">
            <a:blip r:embed="rId28">
              <a:alphaModFix/>
            </a:blip>
            <a:srcRect/>
            <a:stretch/>
          </p:blipFill>
          <p:spPr>
            <a:xfrm>
              <a:off x="72264" y="2065885"/>
              <a:ext cx="375201" cy="448716"/>
            </a:xfrm>
            <a:prstGeom prst="rect">
              <a:avLst/>
            </a:prstGeom>
            <a:noFill/>
            <a:ln>
              <a:noFill/>
            </a:ln>
          </p:spPr>
        </p:pic>
        <p:grpSp>
          <p:nvGrpSpPr>
            <p:cNvPr id="819" name="Google Shape;819;p14"/>
            <p:cNvGrpSpPr/>
            <p:nvPr/>
          </p:nvGrpSpPr>
          <p:grpSpPr>
            <a:xfrm>
              <a:off x="28025" y="1655515"/>
              <a:ext cx="617917" cy="992937"/>
              <a:chOff x="28025" y="1655515"/>
              <a:chExt cx="617917" cy="992937"/>
            </a:xfrm>
          </p:grpSpPr>
          <p:sp>
            <p:nvSpPr>
              <p:cNvPr id="820" name="Google Shape;820;p14"/>
              <p:cNvSpPr txBox="1"/>
              <p:nvPr/>
            </p:nvSpPr>
            <p:spPr>
              <a:xfrm>
                <a:off x="28025" y="1880132"/>
                <a:ext cx="614504" cy="230792"/>
              </a:xfrm>
              <a:prstGeom prst="rect">
                <a:avLst/>
              </a:prstGeom>
              <a:noFill/>
              <a:ln>
                <a:noFill/>
              </a:ln>
            </p:spPr>
            <p:txBody>
              <a:bodyPr spcFirstLastPara="1" wrap="square" lIns="121900" tIns="60933" rIns="121900" bIns="60933" anchor="t" anchorCtr="0">
                <a:spAutoFit/>
              </a:bodyPr>
              <a:lstStyle/>
              <a:p>
                <a:r>
                  <a:rPr lang="en-US" sz="1200">
                    <a:solidFill>
                      <a:schemeClr val="dk1"/>
                    </a:solidFill>
                    <a:latin typeface="Verdana"/>
                    <a:ea typeface="Verdana"/>
                    <a:cs typeface="Verdana"/>
                    <a:sym typeface="Verdana"/>
                  </a:rPr>
                  <a:t>Skip</a:t>
                </a:r>
                <a:endParaRPr sz="2400"/>
              </a:p>
            </p:txBody>
          </p:sp>
          <p:pic>
            <p:nvPicPr>
              <p:cNvPr id="821" name="Google Shape;821;p14"/>
              <p:cNvPicPr preferRelativeResize="0"/>
              <p:nvPr/>
            </p:nvPicPr>
            <p:blipFill rotWithShape="1">
              <a:blip r:embed="rId29">
                <a:alphaModFix/>
              </a:blip>
              <a:srcRect/>
              <a:stretch/>
            </p:blipFill>
            <p:spPr>
              <a:xfrm>
                <a:off x="96906" y="1655515"/>
                <a:ext cx="298220" cy="248454"/>
              </a:xfrm>
              <a:prstGeom prst="rect">
                <a:avLst/>
              </a:prstGeom>
              <a:noFill/>
              <a:ln>
                <a:noFill/>
              </a:ln>
            </p:spPr>
          </p:pic>
          <p:sp>
            <p:nvSpPr>
              <p:cNvPr id="822" name="Google Shape;822;p14"/>
              <p:cNvSpPr txBox="1"/>
              <p:nvPr/>
            </p:nvSpPr>
            <p:spPr>
              <a:xfrm>
                <a:off x="31438" y="2417660"/>
                <a:ext cx="614504" cy="230792"/>
              </a:xfrm>
              <a:prstGeom prst="rect">
                <a:avLst/>
              </a:prstGeom>
              <a:noFill/>
              <a:ln>
                <a:noFill/>
              </a:ln>
            </p:spPr>
            <p:txBody>
              <a:bodyPr spcFirstLastPara="1" wrap="square" lIns="121900" tIns="60933" rIns="121900" bIns="60933" anchor="t" anchorCtr="0">
                <a:spAutoFit/>
              </a:bodyPr>
              <a:lstStyle/>
              <a:p>
                <a:r>
                  <a:rPr lang="en-US" sz="1200">
                    <a:solidFill>
                      <a:schemeClr val="dk1"/>
                    </a:solidFill>
                    <a:latin typeface="Verdana"/>
                    <a:ea typeface="Verdana"/>
                    <a:cs typeface="Verdana"/>
                    <a:sym typeface="Verdana"/>
                  </a:rPr>
                  <a:t>Next</a:t>
                </a:r>
                <a:endParaRPr sz="2400"/>
              </a:p>
            </p:txBody>
          </p:sp>
        </p:grpSp>
      </p:grpSp>
      <p:pic>
        <p:nvPicPr>
          <p:cNvPr id="823" name="Google Shape;823;p14" descr="No sign"/>
          <p:cNvPicPr preferRelativeResize="0"/>
          <p:nvPr/>
        </p:nvPicPr>
        <p:blipFill rotWithShape="1">
          <a:blip r:embed="rId30">
            <a:alphaModFix/>
          </a:blip>
          <a:srcRect/>
          <a:stretch/>
        </p:blipFill>
        <p:spPr>
          <a:xfrm>
            <a:off x="2043313" y="5491910"/>
            <a:ext cx="578244" cy="578244"/>
          </a:xfrm>
          <a:prstGeom prst="rect">
            <a:avLst/>
          </a:prstGeom>
          <a:noFill/>
          <a:ln>
            <a:noFill/>
          </a:ln>
        </p:spPr>
      </p:pic>
      <p:pic>
        <p:nvPicPr>
          <p:cNvPr id="824" name="Google Shape;824;p14"/>
          <p:cNvPicPr preferRelativeResize="0"/>
          <p:nvPr/>
        </p:nvPicPr>
        <p:blipFill rotWithShape="1">
          <a:blip r:embed="rId31">
            <a:alphaModFix/>
          </a:blip>
          <a:srcRect/>
          <a:stretch/>
        </p:blipFill>
        <p:spPr>
          <a:xfrm>
            <a:off x="125566" y="6461572"/>
            <a:ext cx="321471" cy="363401"/>
          </a:xfrm>
          <a:prstGeom prst="rect">
            <a:avLst/>
          </a:prstGeom>
          <a:noFill/>
          <a:ln>
            <a:noFill/>
          </a:ln>
        </p:spPr>
      </p:pic>
      <p:sp>
        <p:nvSpPr>
          <p:cNvPr id="825" name="Google Shape;825;p14"/>
          <p:cNvSpPr txBox="1"/>
          <p:nvPr/>
        </p:nvSpPr>
        <p:spPr>
          <a:xfrm>
            <a:off x="346485" y="6518345"/>
            <a:ext cx="4730355" cy="328177"/>
          </a:xfrm>
          <a:prstGeom prst="rect">
            <a:avLst/>
          </a:prstGeom>
          <a:noFill/>
          <a:ln>
            <a:noFill/>
          </a:ln>
        </p:spPr>
        <p:txBody>
          <a:bodyPr spcFirstLastPara="1" wrap="square" lIns="121900" tIns="60933" rIns="121900" bIns="60933" anchor="t" anchorCtr="0">
            <a:spAutoFit/>
          </a:bodyPr>
          <a:lstStyle/>
          <a:p>
            <a:r>
              <a:rPr lang="en-US" sz="1333" i="1">
                <a:solidFill>
                  <a:srgbClr val="BFBFBF"/>
                </a:solidFill>
                <a:latin typeface="Verdana"/>
                <a:ea typeface="Verdana"/>
                <a:cs typeface="Verdana"/>
                <a:sym typeface="Verdana"/>
              </a:rPr>
              <a:t>Ashish’s Personalized Screen while in Team Meeting</a:t>
            </a:r>
            <a:endParaRPr sz="2400"/>
          </a:p>
        </p:txBody>
      </p:sp>
    </p:spTree>
    <p:extLst>
      <p:ext uri="{BB962C8B-B14F-4D97-AF65-F5344CB8AC3E}">
        <p14:creationId xmlns:p14="http://schemas.microsoft.com/office/powerpoint/2010/main" val="2449887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0"/>
                                        </p:tgtEl>
                                        <p:attrNameLst>
                                          <p:attrName>style.visibility</p:attrName>
                                        </p:attrNameLst>
                                      </p:cBhvr>
                                      <p:to>
                                        <p:strVal val="visible"/>
                                      </p:to>
                                    </p:set>
                                    <p:animEffect transition="in" filter="fade">
                                      <p:cBhvr>
                                        <p:cTn id="7" dur="500"/>
                                        <p:tgtEl>
                                          <p:spTgt spid="8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17"/>
                                        </p:tgtEl>
                                        <p:attrNameLst>
                                          <p:attrName>style.visibility</p:attrName>
                                        </p:attrNameLst>
                                      </p:cBhvr>
                                      <p:to>
                                        <p:strVal val="visible"/>
                                      </p:to>
                                    </p:set>
                                    <p:animEffect transition="in" filter="fade">
                                      <p:cBhvr>
                                        <p:cTn id="12" dur="500"/>
                                        <p:tgtEl>
                                          <p:spTgt spid="8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29"/>
        <p:cNvGrpSpPr/>
        <p:nvPr/>
      </p:nvGrpSpPr>
      <p:grpSpPr>
        <a:xfrm>
          <a:off x="0" y="0"/>
          <a:ext cx="0" cy="0"/>
          <a:chOff x="0" y="0"/>
          <a:chExt cx="0" cy="0"/>
        </a:xfrm>
      </p:grpSpPr>
      <p:sp>
        <p:nvSpPr>
          <p:cNvPr id="830" name="Google Shape;830;p15"/>
          <p:cNvSpPr/>
          <p:nvPr/>
        </p:nvSpPr>
        <p:spPr>
          <a:xfrm>
            <a:off x="8088922" y="70341"/>
            <a:ext cx="3981159" cy="6787660"/>
          </a:xfrm>
          <a:prstGeom prst="rect">
            <a:avLst/>
          </a:prstGeom>
          <a:solidFill>
            <a:schemeClr val="lt1"/>
          </a:solid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pic>
        <p:nvPicPr>
          <p:cNvPr id="831" name="Google Shape;831;p15"/>
          <p:cNvPicPr preferRelativeResize="0"/>
          <p:nvPr/>
        </p:nvPicPr>
        <p:blipFill rotWithShape="1">
          <a:blip r:embed="rId3">
            <a:alphaModFix/>
          </a:blip>
          <a:srcRect/>
          <a:stretch/>
        </p:blipFill>
        <p:spPr>
          <a:xfrm>
            <a:off x="8079733" y="3025908"/>
            <a:ext cx="3871641" cy="1802145"/>
          </a:xfrm>
          <a:prstGeom prst="rect">
            <a:avLst/>
          </a:prstGeom>
          <a:noFill/>
          <a:ln>
            <a:noFill/>
          </a:ln>
        </p:spPr>
      </p:pic>
      <p:sp>
        <p:nvSpPr>
          <p:cNvPr id="832" name="Google Shape;832;p15"/>
          <p:cNvSpPr/>
          <p:nvPr/>
        </p:nvSpPr>
        <p:spPr>
          <a:xfrm>
            <a:off x="60960" y="98475"/>
            <a:ext cx="8027963" cy="5148775"/>
          </a:xfrm>
          <a:prstGeom prst="rect">
            <a:avLst/>
          </a:prstGeom>
          <a:solidFill>
            <a:schemeClr val="lt1"/>
          </a:solid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sp>
        <p:nvSpPr>
          <p:cNvPr id="833" name="Google Shape;833;p15"/>
          <p:cNvSpPr/>
          <p:nvPr/>
        </p:nvSpPr>
        <p:spPr>
          <a:xfrm>
            <a:off x="60961" y="5247250"/>
            <a:ext cx="8019104" cy="1621057"/>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cxnSp>
        <p:nvCxnSpPr>
          <p:cNvPr id="834" name="Google Shape;834;p15"/>
          <p:cNvCxnSpPr/>
          <p:nvPr/>
        </p:nvCxnSpPr>
        <p:spPr>
          <a:xfrm>
            <a:off x="8088922" y="351692"/>
            <a:ext cx="3981159" cy="0"/>
          </a:xfrm>
          <a:prstGeom prst="straightConnector1">
            <a:avLst/>
          </a:prstGeom>
          <a:noFill/>
          <a:ln w="9525" cap="flat" cmpd="sng">
            <a:solidFill>
              <a:srgbClr val="0064A0"/>
            </a:solidFill>
            <a:prstDash val="solid"/>
            <a:round/>
            <a:headEnd type="none" w="sm" len="sm"/>
            <a:tailEnd type="none" w="sm" len="sm"/>
          </a:ln>
        </p:spPr>
      </p:cxnSp>
      <p:sp>
        <p:nvSpPr>
          <p:cNvPr id="835" name="Google Shape;835;p15"/>
          <p:cNvSpPr txBox="1"/>
          <p:nvPr/>
        </p:nvSpPr>
        <p:spPr>
          <a:xfrm>
            <a:off x="8784299" y="52560"/>
            <a:ext cx="2997533" cy="400055"/>
          </a:xfrm>
          <a:prstGeom prst="rect">
            <a:avLst/>
          </a:prstGeom>
          <a:noFill/>
          <a:ln>
            <a:noFill/>
          </a:ln>
        </p:spPr>
        <p:txBody>
          <a:bodyPr spcFirstLastPara="1" wrap="square" lIns="121900" tIns="60933" rIns="121900" bIns="60933" anchor="t" anchorCtr="0">
            <a:spAutoFit/>
          </a:bodyPr>
          <a:lstStyle/>
          <a:p>
            <a:r>
              <a:rPr lang="en-US" b="1">
                <a:solidFill>
                  <a:schemeClr val="dk1"/>
                </a:solidFill>
                <a:latin typeface="Verdana"/>
                <a:ea typeface="Verdana"/>
                <a:cs typeface="Verdana"/>
                <a:sym typeface="Verdana"/>
              </a:rPr>
              <a:t>Current Topic 1(4)</a:t>
            </a:r>
            <a:endParaRPr b="1">
              <a:solidFill>
                <a:schemeClr val="dk1"/>
              </a:solidFill>
              <a:latin typeface="Verdana"/>
              <a:ea typeface="Verdana"/>
              <a:cs typeface="Verdana"/>
              <a:sym typeface="Verdana"/>
            </a:endParaRPr>
          </a:p>
        </p:txBody>
      </p:sp>
      <p:cxnSp>
        <p:nvCxnSpPr>
          <p:cNvPr id="836" name="Google Shape;836;p15"/>
          <p:cNvCxnSpPr/>
          <p:nvPr/>
        </p:nvCxnSpPr>
        <p:spPr>
          <a:xfrm>
            <a:off x="8088922" y="2349307"/>
            <a:ext cx="3981159" cy="0"/>
          </a:xfrm>
          <a:prstGeom prst="straightConnector1">
            <a:avLst/>
          </a:prstGeom>
          <a:noFill/>
          <a:ln w="9525" cap="flat" cmpd="sng">
            <a:solidFill>
              <a:srgbClr val="0064A0"/>
            </a:solidFill>
            <a:prstDash val="solid"/>
            <a:round/>
            <a:headEnd type="none" w="sm" len="sm"/>
            <a:tailEnd type="none" w="sm" len="sm"/>
          </a:ln>
        </p:spPr>
      </p:cxnSp>
      <p:grpSp>
        <p:nvGrpSpPr>
          <p:cNvPr id="837" name="Google Shape;837;p15"/>
          <p:cNvGrpSpPr/>
          <p:nvPr/>
        </p:nvGrpSpPr>
        <p:grpSpPr>
          <a:xfrm>
            <a:off x="5657094" y="-308853"/>
            <a:ext cx="6215991" cy="2916125"/>
            <a:chOff x="5744161" y="-353860"/>
            <a:chExt cx="6215990" cy="2733636"/>
          </a:xfrm>
        </p:grpSpPr>
        <p:grpSp>
          <p:nvGrpSpPr>
            <p:cNvPr id="838" name="Google Shape;838;p15"/>
            <p:cNvGrpSpPr/>
            <p:nvPr/>
          </p:nvGrpSpPr>
          <p:grpSpPr>
            <a:xfrm>
              <a:off x="5744161" y="-353860"/>
              <a:ext cx="5342800" cy="2733636"/>
              <a:chOff x="-2288489" y="-353858"/>
              <a:chExt cx="5342800" cy="2733636"/>
            </a:xfrm>
          </p:grpSpPr>
          <p:sp>
            <p:nvSpPr>
              <p:cNvPr id="839" name="Google Shape;839;p15"/>
              <p:cNvSpPr/>
              <p:nvPr/>
            </p:nvSpPr>
            <p:spPr>
              <a:xfrm>
                <a:off x="-2288489" y="-353858"/>
                <a:ext cx="2733636" cy="2733636"/>
              </a:xfrm>
              <a:prstGeom prst="blockArc">
                <a:avLst>
                  <a:gd name="adj1" fmla="val 18900000"/>
                  <a:gd name="adj2" fmla="val 2700000"/>
                  <a:gd name="adj3" fmla="val 790"/>
                </a:avLst>
              </a:prstGeom>
              <a:noFill/>
              <a:ln w="25400" cap="flat" cmpd="sng">
                <a:solidFill>
                  <a:srgbClr val="006C9B"/>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840" name="Google Shape;840;p15"/>
              <p:cNvSpPr/>
              <p:nvPr/>
            </p:nvSpPr>
            <p:spPr>
              <a:xfrm>
                <a:off x="233889" y="155752"/>
                <a:ext cx="2820422" cy="311667"/>
              </a:xfrm>
              <a:prstGeom prst="rect">
                <a:avLst/>
              </a:prstGeom>
              <a:solidFill>
                <a:schemeClr val="accent5"/>
              </a:soli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841" name="Google Shape;841;p15"/>
              <p:cNvSpPr txBox="1"/>
              <p:nvPr/>
            </p:nvSpPr>
            <p:spPr>
              <a:xfrm>
                <a:off x="233889" y="155752"/>
                <a:ext cx="2820422"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1:Go-live 📅</a:t>
                </a:r>
                <a:endParaRPr sz="2400"/>
              </a:p>
            </p:txBody>
          </p:sp>
          <p:sp>
            <p:nvSpPr>
              <p:cNvPr id="842" name="Google Shape;842;p15"/>
              <p:cNvSpPr/>
              <p:nvPr/>
            </p:nvSpPr>
            <p:spPr>
              <a:xfrm>
                <a:off x="39097" y="116794"/>
                <a:ext cx="389584" cy="389584"/>
              </a:xfrm>
              <a:prstGeom prst="ellipse">
                <a:avLst/>
              </a:prstGeom>
              <a:solidFill>
                <a:schemeClr val="lt2"/>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843" name="Google Shape;843;p15"/>
              <p:cNvSpPr/>
              <p:nvPr/>
            </p:nvSpPr>
            <p:spPr>
              <a:xfrm>
                <a:off x="412575" y="623335"/>
                <a:ext cx="2641736" cy="311667"/>
              </a:xfrm>
              <a:prstGeom prst="rect">
                <a:avLst/>
              </a:prstGeom>
              <a:solidFill>
                <a:schemeClr val="accent5"/>
              </a:solidFill>
              <a:ln w="19050" cap="flat" cmpd="sng">
                <a:solidFill>
                  <a:srgbClr val="FFFF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844" name="Google Shape;844;p15"/>
              <p:cNvSpPr txBox="1"/>
              <p:nvPr/>
            </p:nvSpPr>
            <p:spPr>
              <a:xfrm>
                <a:off x="412575" y="623335"/>
                <a:ext cx="2641736"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2: App Testing</a:t>
                </a:r>
                <a:endParaRPr sz="1600">
                  <a:solidFill>
                    <a:schemeClr val="lt1"/>
                  </a:solidFill>
                  <a:latin typeface="Verdana"/>
                  <a:ea typeface="Verdana"/>
                  <a:cs typeface="Verdana"/>
                  <a:sym typeface="Verdana"/>
                </a:endParaRPr>
              </a:p>
            </p:txBody>
          </p:sp>
          <p:sp>
            <p:nvSpPr>
              <p:cNvPr id="845" name="Google Shape;845;p15"/>
              <p:cNvSpPr/>
              <p:nvPr/>
            </p:nvSpPr>
            <p:spPr>
              <a:xfrm>
                <a:off x="222563" y="584376"/>
                <a:ext cx="389584" cy="389584"/>
              </a:xfrm>
              <a:prstGeom prst="ellipse">
                <a:avLst/>
              </a:prstGeom>
              <a:solidFill>
                <a:srgbClr val="FFFF00"/>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846" name="Google Shape;846;p15"/>
              <p:cNvSpPr/>
              <p:nvPr/>
            </p:nvSpPr>
            <p:spPr>
              <a:xfrm>
                <a:off x="412575" y="1090917"/>
                <a:ext cx="2641736" cy="311667"/>
              </a:xfrm>
              <a:prstGeom prst="rect">
                <a:avLst/>
              </a:prstGeom>
              <a:solidFill>
                <a:schemeClr val="accent5"/>
              </a:soli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847" name="Google Shape;847;p15"/>
              <p:cNvSpPr txBox="1"/>
              <p:nvPr/>
            </p:nvSpPr>
            <p:spPr>
              <a:xfrm>
                <a:off x="412575" y="1090917"/>
                <a:ext cx="2641736"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3: Support Handover..</a:t>
                </a:r>
                <a:endParaRPr sz="1600">
                  <a:solidFill>
                    <a:schemeClr val="lt1"/>
                  </a:solidFill>
                  <a:latin typeface="Verdana"/>
                  <a:ea typeface="Verdana"/>
                  <a:cs typeface="Verdana"/>
                  <a:sym typeface="Verdana"/>
                </a:endParaRPr>
              </a:p>
            </p:txBody>
          </p:sp>
          <p:sp>
            <p:nvSpPr>
              <p:cNvPr id="848" name="Google Shape;848;p15"/>
              <p:cNvSpPr/>
              <p:nvPr/>
            </p:nvSpPr>
            <p:spPr>
              <a:xfrm>
                <a:off x="217783" y="1051958"/>
                <a:ext cx="389584" cy="38958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849" name="Google Shape;849;p15"/>
              <p:cNvSpPr/>
              <p:nvPr/>
            </p:nvSpPr>
            <p:spPr>
              <a:xfrm>
                <a:off x="233889" y="1558499"/>
                <a:ext cx="2820422" cy="311667"/>
              </a:xfrm>
              <a:prstGeom prst="rect">
                <a:avLst/>
              </a:prstGeom>
              <a:solidFill>
                <a:schemeClr val="accent5"/>
              </a:soli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850" name="Google Shape;850;p15"/>
              <p:cNvSpPr txBox="1"/>
              <p:nvPr/>
            </p:nvSpPr>
            <p:spPr>
              <a:xfrm>
                <a:off x="233889" y="1558499"/>
                <a:ext cx="2820422" cy="311667"/>
              </a:xfrm>
              <a:prstGeom prst="rect">
                <a:avLst/>
              </a:prstGeom>
              <a:noFill/>
              <a:ln>
                <a:noFill/>
              </a:ln>
            </p:spPr>
            <p:txBody>
              <a:bodyPr spcFirstLastPara="1" wrap="square" lIns="329833" tIns="40633" rIns="40633" bIns="40633" anchor="ctr" anchorCtr="0">
                <a:noAutofit/>
              </a:bodyPr>
              <a:lstStyle/>
              <a:p>
                <a:pPr>
                  <a:lnSpc>
                    <a:spcPct val="90000"/>
                  </a:lnSpc>
                  <a:buClr>
                    <a:schemeClr val="lt1"/>
                  </a:buClr>
                  <a:buSzPts val="1200"/>
                </a:pPr>
                <a:r>
                  <a:rPr lang="en-US" sz="1600">
                    <a:solidFill>
                      <a:schemeClr val="lt1"/>
                    </a:solidFill>
                    <a:latin typeface="Verdana"/>
                    <a:ea typeface="Verdana"/>
                    <a:cs typeface="Verdana"/>
                    <a:sym typeface="Verdana"/>
                  </a:rPr>
                  <a:t>T4:Conclusion</a:t>
                </a:r>
                <a:endParaRPr sz="1600">
                  <a:solidFill>
                    <a:schemeClr val="lt1"/>
                  </a:solidFill>
                  <a:latin typeface="Verdana"/>
                  <a:ea typeface="Verdana"/>
                  <a:cs typeface="Verdana"/>
                  <a:sym typeface="Verdana"/>
                </a:endParaRPr>
              </a:p>
            </p:txBody>
          </p:sp>
          <p:sp>
            <p:nvSpPr>
              <p:cNvPr id="851" name="Google Shape;851;p15"/>
              <p:cNvSpPr/>
              <p:nvPr/>
            </p:nvSpPr>
            <p:spPr>
              <a:xfrm>
                <a:off x="39097" y="1519541"/>
                <a:ext cx="389584" cy="38958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grpSp>
        <p:pic>
          <p:nvPicPr>
            <p:cNvPr id="852" name="Google Shape;852;p15" descr="User"/>
            <p:cNvPicPr preferRelativeResize="0"/>
            <p:nvPr/>
          </p:nvPicPr>
          <p:blipFill rotWithShape="1">
            <a:blip r:embed="rId4">
              <a:alphaModFix/>
            </a:blip>
            <a:srcRect/>
            <a:stretch/>
          </p:blipFill>
          <p:spPr>
            <a:xfrm>
              <a:off x="11461772" y="361994"/>
              <a:ext cx="400487" cy="324281"/>
            </a:xfrm>
            <a:prstGeom prst="rect">
              <a:avLst/>
            </a:prstGeom>
            <a:noFill/>
            <a:ln>
              <a:noFill/>
            </a:ln>
          </p:spPr>
        </p:pic>
        <p:pic>
          <p:nvPicPr>
            <p:cNvPr id="853" name="Google Shape;853;p15" descr="User"/>
            <p:cNvPicPr preferRelativeResize="0"/>
            <p:nvPr/>
          </p:nvPicPr>
          <p:blipFill rotWithShape="1">
            <a:blip r:embed="rId5">
              <a:alphaModFix/>
            </a:blip>
            <a:srcRect/>
            <a:stretch/>
          </p:blipFill>
          <p:spPr>
            <a:xfrm>
              <a:off x="11559664" y="1350033"/>
              <a:ext cx="400487" cy="344456"/>
            </a:xfrm>
            <a:prstGeom prst="rect">
              <a:avLst/>
            </a:prstGeom>
            <a:noFill/>
            <a:ln>
              <a:noFill/>
            </a:ln>
          </p:spPr>
        </p:pic>
      </p:grpSp>
      <p:sp>
        <p:nvSpPr>
          <p:cNvPr id="854" name="Google Shape;854;p15"/>
          <p:cNvSpPr txBox="1"/>
          <p:nvPr/>
        </p:nvSpPr>
        <p:spPr>
          <a:xfrm>
            <a:off x="8940362" y="2548613"/>
            <a:ext cx="2387833" cy="400055"/>
          </a:xfrm>
          <a:prstGeom prst="rect">
            <a:avLst/>
          </a:prstGeom>
          <a:noFill/>
          <a:ln>
            <a:noFill/>
          </a:ln>
        </p:spPr>
        <p:txBody>
          <a:bodyPr spcFirstLastPara="1" wrap="square" lIns="121900" tIns="60933" rIns="121900" bIns="60933" anchor="t" anchorCtr="0">
            <a:spAutoFit/>
          </a:bodyPr>
          <a:lstStyle/>
          <a:p>
            <a:r>
              <a:rPr lang="en-US" b="1">
                <a:solidFill>
                  <a:schemeClr val="dk1"/>
                </a:solidFill>
                <a:latin typeface="Verdana"/>
                <a:ea typeface="Verdana"/>
                <a:cs typeface="Verdana"/>
                <a:sym typeface="Verdana"/>
              </a:rPr>
              <a:t>Participants(15)</a:t>
            </a:r>
            <a:endParaRPr b="1">
              <a:solidFill>
                <a:schemeClr val="dk1"/>
              </a:solidFill>
              <a:latin typeface="Verdana"/>
              <a:ea typeface="Verdana"/>
              <a:cs typeface="Verdana"/>
              <a:sym typeface="Verdana"/>
            </a:endParaRPr>
          </a:p>
        </p:txBody>
      </p:sp>
      <p:cxnSp>
        <p:nvCxnSpPr>
          <p:cNvPr id="855" name="Google Shape;855;p15"/>
          <p:cNvCxnSpPr/>
          <p:nvPr/>
        </p:nvCxnSpPr>
        <p:spPr>
          <a:xfrm>
            <a:off x="8088922" y="2940148"/>
            <a:ext cx="3981159" cy="0"/>
          </a:xfrm>
          <a:prstGeom prst="straightConnector1">
            <a:avLst/>
          </a:prstGeom>
          <a:noFill/>
          <a:ln w="9525" cap="flat" cmpd="sng">
            <a:solidFill>
              <a:srgbClr val="0064A0"/>
            </a:solidFill>
            <a:prstDash val="solid"/>
            <a:round/>
            <a:headEnd type="none" w="sm" len="sm"/>
            <a:tailEnd type="none" w="sm" len="sm"/>
          </a:ln>
        </p:spPr>
      </p:cxnSp>
      <p:pic>
        <p:nvPicPr>
          <p:cNvPr id="856" name="Google Shape;856;p15" descr="i want to speak"/>
          <p:cNvPicPr preferRelativeResize="0"/>
          <p:nvPr/>
        </p:nvPicPr>
        <p:blipFill rotWithShape="1">
          <a:blip r:embed="rId6">
            <a:alphaModFix/>
          </a:blip>
          <a:srcRect/>
          <a:stretch/>
        </p:blipFill>
        <p:spPr>
          <a:xfrm>
            <a:off x="6511095" y="5519603"/>
            <a:ext cx="766100" cy="745544"/>
          </a:xfrm>
          <a:prstGeom prst="rect">
            <a:avLst/>
          </a:prstGeom>
          <a:solidFill>
            <a:srgbClr val="E5E5E5"/>
          </a:solidFill>
          <a:ln>
            <a:noFill/>
          </a:ln>
          <a:effectLst>
            <a:outerShdw blurRad="44450" dist="27940" dir="5400000" algn="ctr">
              <a:srgbClr val="000000">
                <a:alpha val="31764"/>
              </a:srgbClr>
            </a:outerShdw>
          </a:effectLst>
        </p:spPr>
      </p:pic>
      <p:pic>
        <p:nvPicPr>
          <p:cNvPr id="857" name="Google Shape;857;p15"/>
          <p:cNvPicPr preferRelativeResize="0"/>
          <p:nvPr/>
        </p:nvPicPr>
        <p:blipFill rotWithShape="1">
          <a:blip r:embed="rId7">
            <a:alphaModFix/>
          </a:blip>
          <a:srcRect/>
          <a:stretch/>
        </p:blipFill>
        <p:spPr>
          <a:xfrm>
            <a:off x="4133740" y="-9979"/>
            <a:ext cx="568920" cy="568920"/>
          </a:xfrm>
          <a:prstGeom prst="rect">
            <a:avLst/>
          </a:prstGeom>
          <a:noFill/>
          <a:ln>
            <a:noFill/>
          </a:ln>
        </p:spPr>
      </p:pic>
      <p:pic>
        <p:nvPicPr>
          <p:cNvPr id="858" name="Google Shape;858;p15" descr="Pin"/>
          <p:cNvPicPr preferRelativeResize="0"/>
          <p:nvPr/>
        </p:nvPicPr>
        <p:blipFill rotWithShape="1">
          <a:blip r:embed="rId8">
            <a:alphaModFix/>
          </a:blip>
          <a:srcRect/>
          <a:stretch/>
        </p:blipFill>
        <p:spPr>
          <a:xfrm>
            <a:off x="11549178" y="4340698"/>
            <a:ext cx="280831" cy="280831"/>
          </a:xfrm>
          <a:prstGeom prst="rect">
            <a:avLst/>
          </a:prstGeom>
          <a:noFill/>
          <a:ln>
            <a:noFill/>
          </a:ln>
        </p:spPr>
      </p:pic>
      <p:pic>
        <p:nvPicPr>
          <p:cNvPr id="859" name="Google Shape;859;p15" descr="Pin"/>
          <p:cNvPicPr preferRelativeResize="0"/>
          <p:nvPr/>
        </p:nvPicPr>
        <p:blipFill rotWithShape="1">
          <a:blip r:embed="rId8">
            <a:alphaModFix/>
          </a:blip>
          <a:srcRect/>
          <a:stretch/>
        </p:blipFill>
        <p:spPr>
          <a:xfrm>
            <a:off x="11503553" y="3181108"/>
            <a:ext cx="316667" cy="316667"/>
          </a:xfrm>
          <a:prstGeom prst="rect">
            <a:avLst/>
          </a:prstGeom>
          <a:noFill/>
          <a:ln>
            <a:noFill/>
          </a:ln>
        </p:spPr>
      </p:pic>
      <p:sp>
        <p:nvSpPr>
          <p:cNvPr id="860" name="Google Shape;860;p15"/>
          <p:cNvSpPr/>
          <p:nvPr/>
        </p:nvSpPr>
        <p:spPr>
          <a:xfrm>
            <a:off x="8106944" y="5234423"/>
            <a:ext cx="3971992" cy="1632519"/>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pic>
        <p:nvPicPr>
          <p:cNvPr id="861" name="Google Shape;861;p15" descr="A close up of a logo&#10;&#10;Description automatically generated"/>
          <p:cNvPicPr preferRelativeResize="0"/>
          <p:nvPr/>
        </p:nvPicPr>
        <p:blipFill rotWithShape="1">
          <a:blip r:embed="rId9">
            <a:alphaModFix/>
          </a:blip>
          <a:srcRect/>
          <a:stretch/>
        </p:blipFill>
        <p:spPr>
          <a:xfrm>
            <a:off x="11202185" y="6096798"/>
            <a:ext cx="711599" cy="711599"/>
          </a:xfrm>
          <a:prstGeom prst="rect">
            <a:avLst/>
          </a:prstGeom>
          <a:noFill/>
          <a:ln>
            <a:noFill/>
          </a:ln>
        </p:spPr>
      </p:pic>
      <p:cxnSp>
        <p:nvCxnSpPr>
          <p:cNvPr id="862" name="Google Shape;862;p15"/>
          <p:cNvCxnSpPr>
            <a:stCxn id="860" idx="1"/>
            <a:endCxn id="860" idx="3"/>
          </p:cNvCxnSpPr>
          <p:nvPr/>
        </p:nvCxnSpPr>
        <p:spPr>
          <a:xfrm>
            <a:off x="8106944" y="6050683"/>
            <a:ext cx="3972000" cy="0"/>
          </a:xfrm>
          <a:prstGeom prst="straightConnector1">
            <a:avLst/>
          </a:prstGeom>
          <a:noFill/>
          <a:ln w="9525" cap="flat" cmpd="sng">
            <a:solidFill>
              <a:srgbClr val="0064A0"/>
            </a:solidFill>
            <a:prstDash val="solid"/>
            <a:round/>
            <a:headEnd type="none" w="sm" len="sm"/>
            <a:tailEnd type="none" w="sm" len="sm"/>
          </a:ln>
        </p:spPr>
      </p:cxnSp>
      <p:sp>
        <p:nvSpPr>
          <p:cNvPr id="863" name="Google Shape;863;p15"/>
          <p:cNvSpPr/>
          <p:nvPr/>
        </p:nvSpPr>
        <p:spPr>
          <a:xfrm>
            <a:off x="8166249" y="6333717"/>
            <a:ext cx="457683" cy="473201"/>
          </a:xfrm>
          <a:prstGeom prst="chevron">
            <a:avLst>
              <a:gd name="adj" fmla="val 50000"/>
            </a:avLst>
          </a:prstGeom>
          <a:gradFill>
            <a:gsLst>
              <a:gs pos="0">
                <a:srgbClr val="9AD9F6"/>
              </a:gs>
              <a:gs pos="4000">
                <a:srgbClr val="FFFFFF">
                  <a:alpha val="0"/>
                </a:srgbClr>
              </a:gs>
              <a:gs pos="100000">
                <a:srgbClr val="78CCF0"/>
              </a:gs>
            </a:gsLst>
            <a:lin ang="16200000" scaled="0"/>
          </a:gradFill>
          <a:ln w="9525" cap="flat" cmpd="sng">
            <a:solidFill>
              <a:srgbClr val="00ADD8"/>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pic>
        <p:nvPicPr>
          <p:cNvPr id="864" name="Google Shape;864;p15"/>
          <p:cNvPicPr preferRelativeResize="0"/>
          <p:nvPr/>
        </p:nvPicPr>
        <p:blipFill rotWithShape="1">
          <a:blip r:embed="rId10">
            <a:alphaModFix/>
          </a:blip>
          <a:srcRect/>
          <a:stretch/>
        </p:blipFill>
        <p:spPr>
          <a:xfrm>
            <a:off x="7007685" y="4773150"/>
            <a:ext cx="528476" cy="528476"/>
          </a:xfrm>
          <a:prstGeom prst="rect">
            <a:avLst/>
          </a:prstGeom>
          <a:noFill/>
          <a:ln>
            <a:noFill/>
          </a:ln>
        </p:spPr>
      </p:pic>
      <p:pic>
        <p:nvPicPr>
          <p:cNvPr id="865" name="Google Shape;865;p15" descr="A close up of a logo&#10;&#10;Description automatically generated"/>
          <p:cNvPicPr preferRelativeResize="0"/>
          <p:nvPr/>
        </p:nvPicPr>
        <p:blipFill rotWithShape="1">
          <a:blip r:embed="rId11">
            <a:alphaModFix/>
          </a:blip>
          <a:srcRect/>
          <a:stretch/>
        </p:blipFill>
        <p:spPr>
          <a:xfrm>
            <a:off x="10919823" y="4245947"/>
            <a:ext cx="550787" cy="550787"/>
          </a:xfrm>
          <a:prstGeom prst="rect">
            <a:avLst/>
          </a:prstGeom>
          <a:noFill/>
          <a:ln>
            <a:noFill/>
          </a:ln>
        </p:spPr>
      </p:pic>
      <p:pic>
        <p:nvPicPr>
          <p:cNvPr id="866" name="Google Shape;866;p15" descr="User"/>
          <p:cNvPicPr preferRelativeResize="0"/>
          <p:nvPr/>
        </p:nvPicPr>
        <p:blipFill rotWithShape="1">
          <a:blip r:embed="rId4">
            <a:alphaModFix/>
          </a:blip>
          <a:srcRect/>
          <a:stretch/>
        </p:blipFill>
        <p:spPr>
          <a:xfrm>
            <a:off x="6681631" y="908066"/>
            <a:ext cx="888804" cy="561661"/>
          </a:xfrm>
          <a:prstGeom prst="rect">
            <a:avLst/>
          </a:prstGeom>
          <a:noFill/>
          <a:ln>
            <a:noFill/>
          </a:ln>
        </p:spPr>
      </p:pic>
      <p:pic>
        <p:nvPicPr>
          <p:cNvPr id="867" name="Google Shape;867;p15" descr="A close up of a logo&#10;&#10;Description automatically generated"/>
          <p:cNvPicPr preferRelativeResize="0"/>
          <p:nvPr/>
        </p:nvPicPr>
        <p:blipFill rotWithShape="1">
          <a:blip r:embed="rId12">
            <a:alphaModFix amt="20000"/>
          </a:blip>
          <a:srcRect/>
          <a:stretch/>
        </p:blipFill>
        <p:spPr>
          <a:xfrm>
            <a:off x="7554267" y="4762555"/>
            <a:ext cx="563500" cy="563500"/>
          </a:xfrm>
          <a:prstGeom prst="rect">
            <a:avLst/>
          </a:prstGeom>
          <a:noFill/>
          <a:ln>
            <a:noFill/>
          </a:ln>
        </p:spPr>
      </p:pic>
      <p:pic>
        <p:nvPicPr>
          <p:cNvPr id="868" name="Google Shape;868;p15" descr="A close up of a logo&#10;&#10;Description automatically generated"/>
          <p:cNvPicPr preferRelativeResize="0"/>
          <p:nvPr/>
        </p:nvPicPr>
        <p:blipFill rotWithShape="1">
          <a:blip r:embed="rId13">
            <a:alphaModFix/>
          </a:blip>
          <a:srcRect/>
          <a:stretch/>
        </p:blipFill>
        <p:spPr>
          <a:xfrm>
            <a:off x="4990828" y="5510239"/>
            <a:ext cx="714515" cy="714515"/>
          </a:xfrm>
          <a:prstGeom prst="rect">
            <a:avLst/>
          </a:prstGeom>
          <a:solidFill>
            <a:srgbClr val="E5E5E5"/>
          </a:solidFill>
          <a:ln>
            <a:noFill/>
          </a:ln>
          <a:effectLst>
            <a:outerShdw blurRad="44450" dist="27940" dir="5400000" algn="ctr">
              <a:srgbClr val="000000">
                <a:alpha val="31764"/>
              </a:srgbClr>
            </a:outerShdw>
          </a:effectLst>
        </p:spPr>
      </p:pic>
      <p:pic>
        <p:nvPicPr>
          <p:cNvPr id="869" name="Google Shape;869;p15" descr="Female Profile"/>
          <p:cNvPicPr preferRelativeResize="0"/>
          <p:nvPr/>
        </p:nvPicPr>
        <p:blipFill rotWithShape="1">
          <a:blip r:embed="rId14">
            <a:alphaModFix/>
          </a:blip>
          <a:srcRect/>
          <a:stretch/>
        </p:blipFill>
        <p:spPr>
          <a:xfrm>
            <a:off x="11184565" y="1508787"/>
            <a:ext cx="373419" cy="373419"/>
          </a:xfrm>
          <a:prstGeom prst="rect">
            <a:avLst/>
          </a:prstGeom>
          <a:noFill/>
          <a:ln>
            <a:noFill/>
          </a:ln>
        </p:spPr>
      </p:pic>
      <p:pic>
        <p:nvPicPr>
          <p:cNvPr id="870" name="Google Shape;870;p15"/>
          <p:cNvPicPr preferRelativeResize="0"/>
          <p:nvPr/>
        </p:nvPicPr>
        <p:blipFill rotWithShape="1">
          <a:blip r:embed="rId15">
            <a:alphaModFix/>
          </a:blip>
          <a:srcRect/>
          <a:stretch/>
        </p:blipFill>
        <p:spPr>
          <a:xfrm>
            <a:off x="8117768" y="79283"/>
            <a:ext cx="277323" cy="277323"/>
          </a:xfrm>
          <a:prstGeom prst="rect">
            <a:avLst/>
          </a:prstGeom>
          <a:solidFill>
            <a:srgbClr val="000000"/>
          </a:solidFill>
          <a:ln>
            <a:noFill/>
          </a:ln>
        </p:spPr>
      </p:pic>
      <p:pic>
        <p:nvPicPr>
          <p:cNvPr id="871" name="Google Shape;871;p15" descr="Help"/>
          <p:cNvPicPr preferRelativeResize="0"/>
          <p:nvPr/>
        </p:nvPicPr>
        <p:blipFill rotWithShape="1">
          <a:blip r:embed="rId16">
            <a:alphaModFix/>
          </a:blip>
          <a:srcRect/>
          <a:stretch/>
        </p:blipFill>
        <p:spPr>
          <a:xfrm>
            <a:off x="7719592" y="79283"/>
            <a:ext cx="369328" cy="369328"/>
          </a:xfrm>
          <a:prstGeom prst="rect">
            <a:avLst/>
          </a:prstGeom>
          <a:noFill/>
          <a:ln>
            <a:noFill/>
          </a:ln>
        </p:spPr>
      </p:pic>
      <p:pic>
        <p:nvPicPr>
          <p:cNvPr id="872" name="Google Shape;872;p15"/>
          <p:cNvPicPr preferRelativeResize="0"/>
          <p:nvPr/>
        </p:nvPicPr>
        <p:blipFill rotWithShape="1">
          <a:blip r:embed="rId17">
            <a:alphaModFix/>
          </a:blip>
          <a:srcRect/>
          <a:stretch/>
        </p:blipFill>
        <p:spPr>
          <a:xfrm>
            <a:off x="11371275" y="989058"/>
            <a:ext cx="434608" cy="328868"/>
          </a:xfrm>
          <a:prstGeom prst="rect">
            <a:avLst/>
          </a:prstGeom>
          <a:noFill/>
          <a:ln>
            <a:noFill/>
          </a:ln>
        </p:spPr>
      </p:pic>
      <p:pic>
        <p:nvPicPr>
          <p:cNvPr id="873" name="Google Shape;873;p15"/>
          <p:cNvPicPr preferRelativeResize="0"/>
          <p:nvPr/>
        </p:nvPicPr>
        <p:blipFill rotWithShape="1">
          <a:blip r:embed="rId18">
            <a:alphaModFix/>
          </a:blip>
          <a:srcRect/>
          <a:stretch/>
        </p:blipFill>
        <p:spPr>
          <a:xfrm>
            <a:off x="11456589" y="2107662"/>
            <a:ext cx="373419" cy="314932"/>
          </a:xfrm>
          <a:prstGeom prst="rect">
            <a:avLst/>
          </a:prstGeom>
          <a:noFill/>
          <a:ln>
            <a:noFill/>
          </a:ln>
        </p:spPr>
      </p:pic>
      <p:pic>
        <p:nvPicPr>
          <p:cNvPr id="874" name="Google Shape;874;p15" descr="A close up of a logo&#10;&#10;Description automatically generated"/>
          <p:cNvPicPr preferRelativeResize="0"/>
          <p:nvPr/>
        </p:nvPicPr>
        <p:blipFill rotWithShape="1">
          <a:blip r:embed="rId19">
            <a:alphaModFix/>
          </a:blip>
          <a:srcRect/>
          <a:stretch/>
        </p:blipFill>
        <p:spPr>
          <a:xfrm>
            <a:off x="2945233" y="3858766"/>
            <a:ext cx="652847" cy="652847"/>
          </a:xfrm>
          <a:prstGeom prst="rect">
            <a:avLst/>
          </a:prstGeom>
          <a:noFill/>
          <a:ln>
            <a:noFill/>
          </a:ln>
        </p:spPr>
      </p:pic>
      <p:pic>
        <p:nvPicPr>
          <p:cNvPr id="875" name="Google Shape;875;p15" descr="A close up of a logo&#10;&#10;Description automatically generated"/>
          <p:cNvPicPr preferRelativeResize="0"/>
          <p:nvPr/>
        </p:nvPicPr>
        <p:blipFill rotWithShape="1">
          <a:blip r:embed="rId20">
            <a:alphaModFix/>
          </a:blip>
          <a:srcRect/>
          <a:stretch/>
        </p:blipFill>
        <p:spPr>
          <a:xfrm>
            <a:off x="10149218" y="2161845"/>
            <a:ext cx="384097" cy="384097"/>
          </a:xfrm>
          <a:prstGeom prst="rect">
            <a:avLst/>
          </a:prstGeom>
          <a:noFill/>
          <a:ln>
            <a:noFill/>
          </a:ln>
        </p:spPr>
      </p:pic>
      <p:pic>
        <p:nvPicPr>
          <p:cNvPr id="876" name="Google Shape;876;p15"/>
          <p:cNvPicPr preferRelativeResize="0"/>
          <p:nvPr/>
        </p:nvPicPr>
        <p:blipFill rotWithShape="1">
          <a:blip r:embed="rId21">
            <a:alphaModFix/>
          </a:blip>
          <a:srcRect/>
          <a:stretch/>
        </p:blipFill>
        <p:spPr>
          <a:xfrm>
            <a:off x="11448716" y="492787"/>
            <a:ext cx="326477" cy="300871"/>
          </a:xfrm>
          <a:prstGeom prst="rect">
            <a:avLst/>
          </a:prstGeom>
          <a:noFill/>
          <a:ln>
            <a:noFill/>
          </a:ln>
        </p:spPr>
      </p:pic>
      <p:pic>
        <p:nvPicPr>
          <p:cNvPr id="877" name="Google Shape;877;p15"/>
          <p:cNvPicPr preferRelativeResize="0"/>
          <p:nvPr/>
        </p:nvPicPr>
        <p:blipFill rotWithShape="1">
          <a:blip r:embed="rId22">
            <a:alphaModFix/>
          </a:blip>
          <a:srcRect/>
          <a:stretch/>
        </p:blipFill>
        <p:spPr>
          <a:xfrm>
            <a:off x="11091831" y="487218"/>
            <a:ext cx="331183" cy="300869"/>
          </a:xfrm>
          <a:prstGeom prst="rect">
            <a:avLst/>
          </a:prstGeom>
          <a:noFill/>
          <a:ln>
            <a:noFill/>
          </a:ln>
        </p:spPr>
      </p:pic>
      <p:sp>
        <p:nvSpPr>
          <p:cNvPr id="878" name="Google Shape;878;p15"/>
          <p:cNvSpPr txBox="1"/>
          <p:nvPr/>
        </p:nvSpPr>
        <p:spPr>
          <a:xfrm>
            <a:off x="671965" y="6068089"/>
            <a:ext cx="848951"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Repeat</a:t>
            </a:r>
            <a:endParaRPr sz="2400"/>
          </a:p>
        </p:txBody>
      </p:sp>
      <p:sp>
        <p:nvSpPr>
          <p:cNvPr id="879" name="Google Shape;879;p15"/>
          <p:cNvSpPr txBox="1"/>
          <p:nvPr/>
        </p:nvSpPr>
        <p:spPr>
          <a:xfrm>
            <a:off x="1990451" y="6050489"/>
            <a:ext cx="914400"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Stop</a:t>
            </a:r>
            <a:endParaRPr sz="2400"/>
          </a:p>
        </p:txBody>
      </p:sp>
      <p:sp>
        <p:nvSpPr>
          <p:cNvPr id="880" name="Google Shape;880;p15"/>
          <p:cNvSpPr/>
          <p:nvPr/>
        </p:nvSpPr>
        <p:spPr>
          <a:xfrm>
            <a:off x="884820" y="5419045"/>
            <a:ext cx="612523" cy="649043"/>
          </a:xfrm>
          <a:prstGeom prst="ellipse">
            <a:avLst/>
          </a:prstGeom>
          <a:solidFill>
            <a:srgbClr val="CAD9E8"/>
          </a:solidFill>
          <a:ln>
            <a:noFill/>
          </a:ln>
        </p:spPr>
        <p:txBody>
          <a:bodyPr spcFirstLastPara="1" wrap="square" lIns="121900" tIns="121900" rIns="121900" bIns="121900" anchor="ctr" anchorCtr="0">
            <a:noAutofit/>
          </a:bodyPr>
          <a:lstStyle/>
          <a:p>
            <a:endParaRPr sz="2400"/>
          </a:p>
        </p:txBody>
      </p:sp>
      <p:pic>
        <p:nvPicPr>
          <p:cNvPr id="881" name="Google Shape;881;p15" descr="Repeat"/>
          <p:cNvPicPr preferRelativeResize="0"/>
          <p:nvPr/>
        </p:nvPicPr>
        <p:blipFill rotWithShape="1">
          <a:blip r:embed="rId23">
            <a:alphaModFix/>
          </a:blip>
          <a:srcRect/>
          <a:stretch/>
        </p:blipFill>
        <p:spPr>
          <a:xfrm>
            <a:off x="910979" y="5452791"/>
            <a:ext cx="524983" cy="524983"/>
          </a:xfrm>
          <a:prstGeom prst="rect">
            <a:avLst/>
          </a:prstGeom>
          <a:noFill/>
          <a:ln>
            <a:noFill/>
          </a:ln>
        </p:spPr>
      </p:pic>
      <p:sp>
        <p:nvSpPr>
          <p:cNvPr id="882" name="Google Shape;882;p15"/>
          <p:cNvSpPr/>
          <p:nvPr/>
        </p:nvSpPr>
        <p:spPr>
          <a:xfrm>
            <a:off x="2052168" y="5456511"/>
            <a:ext cx="612523" cy="649043"/>
          </a:xfrm>
          <a:prstGeom prst="ellipse">
            <a:avLst/>
          </a:prstGeom>
          <a:solidFill>
            <a:srgbClr val="CAD9E8"/>
          </a:solidFill>
          <a:ln>
            <a:noFill/>
          </a:ln>
        </p:spPr>
        <p:txBody>
          <a:bodyPr spcFirstLastPara="1" wrap="square" lIns="121900" tIns="121900" rIns="121900" bIns="121900" anchor="ctr" anchorCtr="0">
            <a:noAutofit/>
          </a:bodyPr>
          <a:lstStyle/>
          <a:p>
            <a:endParaRPr sz="2400"/>
          </a:p>
        </p:txBody>
      </p:sp>
      <p:sp>
        <p:nvSpPr>
          <p:cNvPr id="883" name="Google Shape;883;p15"/>
          <p:cNvSpPr txBox="1"/>
          <p:nvPr/>
        </p:nvSpPr>
        <p:spPr>
          <a:xfrm>
            <a:off x="4687622" y="6265147"/>
            <a:ext cx="1252855" cy="32817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  No Sound</a:t>
            </a:r>
            <a:endParaRPr sz="2400"/>
          </a:p>
        </p:txBody>
      </p:sp>
      <p:sp>
        <p:nvSpPr>
          <p:cNvPr id="884" name="Google Shape;884;p15"/>
          <p:cNvSpPr txBox="1"/>
          <p:nvPr/>
        </p:nvSpPr>
        <p:spPr>
          <a:xfrm>
            <a:off x="6376114" y="6291493"/>
            <a:ext cx="1252855" cy="533297"/>
          </a:xfrm>
          <a:prstGeom prst="rect">
            <a:avLst/>
          </a:prstGeom>
          <a:noFill/>
          <a:ln>
            <a:noFill/>
          </a:ln>
        </p:spPr>
        <p:txBody>
          <a:bodyPr spcFirstLastPara="1" wrap="square" lIns="121900" tIns="60933" rIns="121900" bIns="60933" anchor="t" anchorCtr="0">
            <a:spAutoFit/>
          </a:bodyPr>
          <a:lstStyle/>
          <a:p>
            <a:r>
              <a:rPr lang="en-US" sz="1333">
                <a:solidFill>
                  <a:schemeClr val="dk1"/>
                </a:solidFill>
                <a:latin typeface="Verdana"/>
                <a:ea typeface="Verdana"/>
                <a:cs typeface="Verdana"/>
                <a:sym typeface="Verdana"/>
              </a:rPr>
              <a:t>  Req. to   </a:t>
            </a:r>
            <a:endParaRPr sz="2400"/>
          </a:p>
          <a:p>
            <a:r>
              <a:rPr lang="en-US" sz="1333">
                <a:solidFill>
                  <a:schemeClr val="dk1"/>
                </a:solidFill>
                <a:latin typeface="Verdana"/>
                <a:ea typeface="Verdana"/>
                <a:cs typeface="Verdana"/>
                <a:sym typeface="Verdana"/>
              </a:rPr>
              <a:t>   Speak</a:t>
            </a:r>
            <a:endParaRPr sz="1333">
              <a:solidFill>
                <a:schemeClr val="dk1"/>
              </a:solidFill>
              <a:latin typeface="Verdana"/>
              <a:ea typeface="Verdana"/>
              <a:cs typeface="Verdana"/>
              <a:sym typeface="Verdana"/>
            </a:endParaRPr>
          </a:p>
        </p:txBody>
      </p:sp>
      <p:pic>
        <p:nvPicPr>
          <p:cNvPr id="885" name="Google Shape;885;p15"/>
          <p:cNvPicPr preferRelativeResize="0"/>
          <p:nvPr/>
        </p:nvPicPr>
        <p:blipFill rotWithShape="1">
          <a:blip r:embed="rId24">
            <a:alphaModFix/>
          </a:blip>
          <a:srcRect/>
          <a:stretch/>
        </p:blipFill>
        <p:spPr>
          <a:xfrm>
            <a:off x="169672" y="621498"/>
            <a:ext cx="7832621" cy="3916311"/>
          </a:xfrm>
          <a:prstGeom prst="rect">
            <a:avLst/>
          </a:prstGeom>
          <a:noFill/>
          <a:ln>
            <a:noFill/>
          </a:ln>
        </p:spPr>
      </p:pic>
      <p:grpSp>
        <p:nvGrpSpPr>
          <p:cNvPr id="886" name="Google Shape;886;p15"/>
          <p:cNvGrpSpPr/>
          <p:nvPr/>
        </p:nvGrpSpPr>
        <p:grpSpPr>
          <a:xfrm>
            <a:off x="1526788" y="4649403"/>
            <a:ext cx="5332104" cy="520959"/>
            <a:chOff x="1145091" y="3487050"/>
            <a:chExt cx="3999078" cy="390719"/>
          </a:xfrm>
        </p:grpSpPr>
        <p:grpSp>
          <p:nvGrpSpPr>
            <p:cNvPr id="887" name="Google Shape;887;p15"/>
            <p:cNvGrpSpPr/>
            <p:nvPr/>
          </p:nvGrpSpPr>
          <p:grpSpPr>
            <a:xfrm>
              <a:off x="1145091" y="3487050"/>
              <a:ext cx="3999078" cy="390719"/>
              <a:chOff x="1145091" y="3487050"/>
              <a:chExt cx="3999078" cy="390719"/>
            </a:xfrm>
          </p:grpSpPr>
          <p:sp>
            <p:nvSpPr>
              <p:cNvPr id="888" name="Google Shape;888;p15"/>
              <p:cNvSpPr/>
              <p:nvPr/>
            </p:nvSpPr>
            <p:spPr>
              <a:xfrm>
                <a:off x="1145091" y="3487050"/>
                <a:ext cx="3459022" cy="390719"/>
              </a:xfrm>
              <a:prstGeom prst="roundRect">
                <a:avLst>
                  <a:gd name="adj" fmla="val 16667"/>
                </a:avLst>
              </a:prstGeom>
              <a:solidFill>
                <a:srgbClr val="F2F2F2"/>
              </a:solidFill>
              <a:ln w="25400" cap="flat" cmpd="sng">
                <a:solidFill>
                  <a:schemeClr val="lt1"/>
                </a:solidFill>
                <a:prstDash val="solid"/>
                <a:round/>
                <a:headEnd type="none" w="sm" len="sm"/>
                <a:tailEnd type="none" w="sm" len="sm"/>
              </a:ln>
            </p:spPr>
            <p:txBody>
              <a:bodyPr spcFirstLastPara="1" wrap="square" lIns="121900" tIns="60933" rIns="121900" bIns="60933" anchor="ctr" anchorCtr="0">
                <a:noAutofit/>
              </a:bodyPr>
              <a:lstStyle/>
              <a:p>
                <a:pPr algn="ctr"/>
                <a:endParaRPr sz="2400">
                  <a:solidFill>
                    <a:schemeClr val="lt1"/>
                  </a:solidFill>
                  <a:latin typeface="Verdana"/>
                  <a:ea typeface="Verdana"/>
                  <a:cs typeface="Verdana"/>
                  <a:sym typeface="Verdana"/>
                </a:endParaRPr>
              </a:p>
            </p:txBody>
          </p:sp>
          <p:sp>
            <p:nvSpPr>
              <p:cNvPr id="889" name="Google Shape;889;p15"/>
              <p:cNvSpPr txBox="1"/>
              <p:nvPr/>
            </p:nvSpPr>
            <p:spPr>
              <a:xfrm>
                <a:off x="1580585" y="3560606"/>
                <a:ext cx="3563584" cy="261618"/>
              </a:xfrm>
              <a:prstGeom prst="rect">
                <a:avLst/>
              </a:prstGeom>
              <a:noFill/>
              <a:ln>
                <a:noFill/>
              </a:ln>
            </p:spPr>
            <p:txBody>
              <a:bodyPr spcFirstLastPara="1" wrap="square" lIns="121900" tIns="60933" rIns="121900" bIns="60933" anchor="t" anchorCtr="0">
                <a:spAutoFit/>
              </a:bodyPr>
              <a:lstStyle/>
              <a:p>
                <a:r>
                  <a:rPr lang="en-US" sz="1467" i="1">
                    <a:solidFill>
                      <a:schemeClr val="dk1"/>
                    </a:solidFill>
                    <a:latin typeface="Verdana"/>
                    <a:ea typeface="Verdana"/>
                    <a:cs typeface="Verdana"/>
                    <a:sym typeface="Verdana"/>
                  </a:rPr>
                  <a:t>Says:       did 👉 complete     Task 11?</a:t>
                </a:r>
                <a:endParaRPr sz="1467" i="1">
                  <a:solidFill>
                    <a:schemeClr val="dk1"/>
                  </a:solidFill>
                  <a:latin typeface="Verdana"/>
                  <a:ea typeface="Verdana"/>
                  <a:cs typeface="Verdana"/>
                  <a:sym typeface="Verdana"/>
                </a:endParaRPr>
              </a:p>
            </p:txBody>
          </p:sp>
          <p:pic>
            <p:nvPicPr>
              <p:cNvPr id="890" name="Google Shape;890;p15"/>
              <p:cNvPicPr preferRelativeResize="0"/>
              <p:nvPr/>
            </p:nvPicPr>
            <p:blipFill rotWithShape="1">
              <a:blip r:embed="rId18">
                <a:alphaModFix/>
              </a:blip>
              <a:srcRect/>
              <a:stretch/>
            </p:blipFill>
            <p:spPr>
              <a:xfrm>
                <a:off x="1238101" y="3561172"/>
                <a:ext cx="280064" cy="236199"/>
              </a:xfrm>
              <a:prstGeom prst="rect">
                <a:avLst/>
              </a:prstGeom>
              <a:noFill/>
              <a:ln>
                <a:noFill/>
              </a:ln>
            </p:spPr>
          </p:pic>
        </p:grpSp>
        <p:pic>
          <p:nvPicPr>
            <p:cNvPr id="891" name="Google Shape;891;p15"/>
            <p:cNvPicPr preferRelativeResize="0"/>
            <p:nvPr/>
          </p:nvPicPr>
          <p:blipFill rotWithShape="1">
            <a:blip r:embed="rId25">
              <a:alphaModFix/>
            </a:blip>
            <a:srcRect/>
            <a:stretch/>
          </p:blipFill>
          <p:spPr>
            <a:xfrm>
              <a:off x="2158990" y="3531534"/>
              <a:ext cx="225558" cy="254978"/>
            </a:xfrm>
            <a:prstGeom prst="rect">
              <a:avLst/>
            </a:prstGeom>
            <a:noFill/>
            <a:ln>
              <a:noFill/>
            </a:ln>
          </p:spPr>
        </p:pic>
        <p:pic>
          <p:nvPicPr>
            <p:cNvPr id="892" name="Google Shape;892;p15" descr="A close up of a logo&#10;&#10;Description automatically generated"/>
            <p:cNvPicPr preferRelativeResize="0"/>
            <p:nvPr/>
          </p:nvPicPr>
          <p:blipFill rotWithShape="1">
            <a:blip r:embed="rId26">
              <a:alphaModFix/>
            </a:blip>
            <a:srcRect/>
            <a:stretch/>
          </p:blipFill>
          <p:spPr>
            <a:xfrm>
              <a:off x="3564510" y="3510030"/>
              <a:ext cx="332642" cy="332642"/>
            </a:xfrm>
            <a:prstGeom prst="rect">
              <a:avLst/>
            </a:prstGeom>
            <a:noFill/>
            <a:ln>
              <a:noFill/>
            </a:ln>
          </p:spPr>
        </p:pic>
      </p:grpSp>
      <p:sp>
        <p:nvSpPr>
          <p:cNvPr id="893" name="Google Shape;893;p15"/>
          <p:cNvSpPr txBox="1"/>
          <p:nvPr/>
        </p:nvSpPr>
        <p:spPr>
          <a:xfrm flipH="1">
            <a:off x="8600981" y="5445225"/>
            <a:ext cx="1042145" cy="400055"/>
          </a:xfrm>
          <a:prstGeom prst="rect">
            <a:avLst/>
          </a:prstGeom>
          <a:gradFill>
            <a:gsLst>
              <a:gs pos="0">
                <a:srgbClr val="EDF8FF"/>
              </a:gs>
              <a:gs pos="74000">
                <a:srgbClr val="61C3FE"/>
              </a:gs>
              <a:gs pos="83000">
                <a:srgbClr val="61C3FE"/>
              </a:gs>
              <a:gs pos="100000">
                <a:srgbClr val="95D7FF"/>
              </a:gs>
            </a:gsLst>
            <a:lin ang="5400000" scaled="0"/>
          </a:gradFill>
          <a:ln w="9525" cap="flat" cmpd="sng">
            <a:solidFill>
              <a:schemeClr val="dk1"/>
            </a:solidFill>
            <a:prstDash val="solid"/>
            <a:round/>
            <a:headEnd type="none" w="sm" len="sm"/>
            <a:tailEnd type="none" w="sm" len="sm"/>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Yes</a:t>
            </a:r>
            <a:endParaRPr>
              <a:solidFill>
                <a:schemeClr val="dk1"/>
              </a:solidFill>
              <a:latin typeface="Verdana"/>
              <a:ea typeface="Verdana"/>
              <a:cs typeface="Verdana"/>
              <a:sym typeface="Verdana"/>
            </a:endParaRPr>
          </a:p>
        </p:txBody>
      </p:sp>
      <p:pic>
        <p:nvPicPr>
          <p:cNvPr id="894" name="Google Shape;894;p15" descr="Checkmark"/>
          <p:cNvPicPr preferRelativeResize="0"/>
          <p:nvPr/>
        </p:nvPicPr>
        <p:blipFill rotWithShape="1">
          <a:blip r:embed="rId27">
            <a:alphaModFix/>
          </a:blip>
          <a:srcRect/>
          <a:stretch/>
        </p:blipFill>
        <p:spPr>
          <a:xfrm>
            <a:off x="9113945" y="5483933"/>
            <a:ext cx="400399" cy="339468"/>
          </a:xfrm>
          <a:prstGeom prst="rect">
            <a:avLst/>
          </a:prstGeom>
          <a:noFill/>
          <a:ln>
            <a:noFill/>
          </a:ln>
        </p:spPr>
      </p:pic>
      <p:sp>
        <p:nvSpPr>
          <p:cNvPr id="895" name="Google Shape;895;p15"/>
          <p:cNvSpPr txBox="1"/>
          <p:nvPr/>
        </p:nvSpPr>
        <p:spPr>
          <a:xfrm flipH="1">
            <a:off x="9950168" y="5447198"/>
            <a:ext cx="1825024" cy="400055"/>
          </a:xfrm>
          <a:prstGeom prst="rect">
            <a:avLst/>
          </a:prstGeom>
          <a:gradFill>
            <a:gsLst>
              <a:gs pos="0">
                <a:srgbClr val="EDF8FF"/>
              </a:gs>
              <a:gs pos="74000">
                <a:srgbClr val="61C3FE"/>
              </a:gs>
              <a:gs pos="83000">
                <a:srgbClr val="61C3FE"/>
              </a:gs>
              <a:gs pos="100000">
                <a:srgbClr val="95D7FF"/>
              </a:gs>
            </a:gsLst>
            <a:lin ang="5400000" scaled="0"/>
          </a:gradFill>
          <a:ln w="9525" cap="flat" cmpd="sng">
            <a:solidFill>
              <a:schemeClr val="dk1"/>
            </a:solidFill>
            <a:prstDash val="solid"/>
            <a:round/>
            <a:headEnd type="none" w="sm" len="sm"/>
            <a:tailEnd type="none" w="sm" len="sm"/>
          </a:ln>
        </p:spPr>
        <p:txBody>
          <a:bodyPr spcFirstLastPara="1" wrap="square" lIns="121900" tIns="60933" rIns="121900" bIns="60933" anchor="t" anchorCtr="0">
            <a:spAutoFit/>
          </a:bodyPr>
          <a:lstStyle/>
          <a:p>
            <a:r>
              <a:rPr lang="en-US">
                <a:solidFill>
                  <a:schemeClr val="dk1"/>
                </a:solidFill>
                <a:latin typeface="Verdana"/>
                <a:ea typeface="Verdana"/>
                <a:cs typeface="Verdana"/>
                <a:sym typeface="Verdana"/>
              </a:rPr>
              <a:t>      Need </a:t>
            </a:r>
            <a:endParaRPr>
              <a:solidFill>
                <a:schemeClr val="dk1"/>
              </a:solidFill>
              <a:latin typeface="Verdana"/>
              <a:ea typeface="Verdana"/>
              <a:cs typeface="Verdana"/>
              <a:sym typeface="Verdana"/>
            </a:endParaRPr>
          </a:p>
        </p:txBody>
      </p:sp>
      <p:pic>
        <p:nvPicPr>
          <p:cNvPr id="896" name="Google Shape;896;p15" descr="Close"/>
          <p:cNvPicPr preferRelativeResize="0"/>
          <p:nvPr/>
        </p:nvPicPr>
        <p:blipFill rotWithShape="1">
          <a:blip r:embed="rId28">
            <a:alphaModFix/>
          </a:blip>
          <a:srcRect/>
          <a:stretch/>
        </p:blipFill>
        <p:spPr>
          <a:xfrm>
            <a:off x="10106185" y="5452539"/>
            <a:ext cx="400399" cy="400399"/>
          </a:xfrm>
          <a:prstGeom prst="rect">
            <a:avLst/>
          </a:prstGeom>
          <a:noFill/>
          <a:ln>
            <a:noFill/>
          </a:ln>
        </p:spPr>
      </p:pic>
      <p:pic>
        <p:nvPicPr>
          <p:cNvPr id="897" name="Google Shape;897;p15" descr="A close up of a logo&#10;&#10;Description automatically generated"/>
          <p:cNvPicPr preferRelativeResize="0"/>
          <p:nvPr/>
        </p:nvPicPr>
        <p:blipFill rotWithShape="1">
          <a:blip r:embed="rId29">
            <a:alphaModFix/>
          </a:blip>
          <a:srcRect/>
          <a:stretch/>
        </p:blipFill>
        <p:spPr>
          <a:xfrm>
            <a:off x="11175094" y="5428867"/>
            <a:ext cx="400399" cy="400399"/>
          </a:xfrm>
          <a:prstGeom prst="rect">
            <a:avLst/>
          </a:prstGeom>
          <a:noFill/>
          <a:ln>
            <a:noFill/>
          </a:ln>
        </p:spPr>
      </p:pic>
      <p:pic>
        <p:nvPicPr>
          <p:cNvPr id="898" name="Google Shape;898;p15">
            <a:hlinkClick r:id="rId30" action="ppaction://hlinksldjump"/>
          </p:cNvPr>
          <p:cNvPicPr preferRelativeResize="0"/>
          <p:nvPr/>
        </p:nvPicPr>
        <p:blipFill rotWithShape="1">
          <a:blip r:embed="rId7">
            <a:alphaModFix/>
          </a:blip>
          <a:srcRect/>
          <a:stretch/>
        </p:blipFill>
        <p:spPr>
          <a:xfrm>
            <a:off x="4142600" y="-13545"/>
            <a:ext cx="568920" cy="568920"/>
          </a:xfrm>
          <a:prstGeom prst="rect">
            <a:avLst/>
          </a:prstGeom>
          <a:noFill/>
          <a:ln>
            <a:noFill/>
          </a:ln>
        </p:spPr>
      </p:pic>
      <p:pic>
        <p:nvPicPr>
          <p:cNvPr id="899" name="Google Shape;899;p15" descr="No sign"/>
          <p:cNvPicPr preferRelativeResize="0"/>
          <p:nvPr/>
        </p:nvPicPr>
        <p:blipFill rotWithShape="1">
          <a:blip r:embed="rId31">
            <a:alphaModFix/>
          </a:blip>
          <a:srcRect/>
          <a:stretch/>
        </p:blipFill>
        <p:spPr>
          <a:xfrm>
            <a:off x="2043313" y="5491910"/>
            <a:ext cx="578244" cy="578244"/>
          </a:xfrm>
          <a:prstGeom prst="rect">
            <a:avLst/>
          </a:prstGeom>
          <a:noFill/>
          <a:ln>
            <a:noFill/>
          </a:ln>
        </p:spPr>
      </p:pic>
      <p:sp>
        <p:nvSpPr>
          <p:cNvPr id="900" name="Google Shape;900;p15"/>
          <p:cNvSpPr/>
          <p:nvPr/>
        </p:nvSpPr>
        <p:spPr>
          <a:xfrm>
            <a:off x="80088" y="5231866"/>
            <a:ext cx="8019104" cy="1621057"/>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sp>
        <p:nvSpPr>
          <p:cNvPr id="901" name="Google Shape;901;p15"/>
          <p:cNvSpPr/>
          <p:nvPr/>
        </p:nvSpPr>
        <p:spPr>
          <a:xfrm>
            <a:off x="8126071" y="5219039"/>
            <a:ext cx="3971992" cy="1632519"/>
          </a:xfrm>
          <a:prstGeom prst="rect">
            <a:avLst/>
          </a:prstGeom>
          <a:noFill/>
          <a:ln w="25400" cap="flat"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lgn="ctr"/>
            <a:endParaRPr>
              <a:solidFill>
                <a:schemeClr val="dk1"/>
              </a:solidFill>
              <a:latin typeface="Verdana"/>
              <a:ea typeface="Verdana"/>
              <a:cs typeface="Verdana"/>
              <a:sym typeface="Verdana"/>
            </a:endParaRPr>
          </a:p>
        </p:txBody>
      </p:sp>
      <p:pic>
        <p:nvPicPr>
          <p:cNvPr id="902" name="Google Shape;902;p15"/>
          <p:cNvPicPr preferRelativeResize="0"/>
          <p:nvPr/>
        </p:nvPicPr>
        <p:blipFill rotWithShape="1">
          <a:blip r:embed="rId32">
            <a:alphaModFix/>
          </a:blip>
          <a:srcRect/>
          <a:stretch/>
        </p:blipFill>
        <p:spPr>
          <a:xfrm>
            <a:off x="6976063" y="2183801"/>
            <a:ext cx="5090143" cy="3873500"/>
          </a:xfrm>
          <a:prstGeom prst="rect">
            <a:avLst/>
          </a:prstGeom>
          <a:noFill/>
          <a:ln>
            <a:noFill/>
          </a:ln>
        </p:spPr>
      </p:pic>
      <p:pic>
        <p:nvPicPr>
          <p:cNvPr id="903" name="Google Shape;903;p15"/>
          <p:cNvPicPr preferRelativeResize="0"/>
          <p:nvPr/>
        </p:nvPicPr>
        <p:blipFill rotWithShape="1">
          <a:blip r:embed="rId25">
            <a:alphaModFix/>
          </a:blip>
          <a:srcRect/>
          <a:stretch/>
        </p:blipFill>
        <p:spPr>
          <a:xfrm>
            <a:off x="125566" y="6461572"/>
            <a:ext cx="321471" cy="363401"/>
          </a:xfrm>
          <a:prstGeom prst="rect">
            <a:avLst/>
          </a:prstGeom>
          <a:noFill/>
          <a:ln>
            <a:noFill/>
          </a:ln>
        </p:spPr>
      </p:pic>
      <p:sp>
        <p:nvSpPr>
          <p:cNvPr id="904" name="Google Shape;904;p15"/>
          <p:cNvSpPr txBox="1"/>
          <p:nvPr/>
        </p:nvSpPr>
        <p:spPr>
          <a:xfrm>
            <a:off x="346485" y="6518345"/>
            <a:ext cx="4790200" cy="328177"/>
          </a:xfrm>
          <a:prstGeom prst="rect">
            <a:avLst/>
          </a:prstGeom>
          <a:noFill/>
          <a:ln>
            <a:noFill/>
          </a:ln>
        </p:spPr>
        <p:txBody>
          <a:bodyPr spcFirstLastPara="1" wrap="square" lIns="121900" tIns="60933" rIns="121900" bIns="60933" anchor="t" anchorCtr="0">
            <a:spAutoFit/>
          </a:bodyPr>
          <a:lstStyle/>
          <a:p>
            <a:r>
              <a:rPr lang="en-US" sz="1333" i="1">
                <a:solidFill>
                  <a:srgbClr val="BFBFBF"/>
                </a:solidFill>
                <a:latin typeface="Verdana"/>
                <a:ea typeface="Verdana"/>
                <a:cs typeface="Verdana"/>
                <a:sym typeface="Verdana"/>
              </a:rPr>
              <a:t>Ashish’s  Personalized Screen while in Team Meeting</a:t>
            </a:r>
            <a:endParaRPr sz="2400"/>
          </a:p>
        </p:txBody>
      </p:sp>
    </p:spTree>
    <p:extLst>
      <p:ext uri="{BB962C8B-B14F-4D97-AF65-F5344CB8AC3E}">
        <p14:creationId xmlns:p14="http://schemas.microsoft.com/office/powerpoint/2010/main" val="245143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6"/>
                                        </p:tgtEl>
                                        <p:attrNameLst>
                                          <p:attrName>style.visibility</p:attrName>
                                        </p:attrNameLst>
                                      </p:cBhvr>
                                      <p:to>
                                        <p:strVal val="visible"/>
                                      </p:to>
                                    </p:set>
                                    <p:animEffect transition="in" filter="fade">
                                      <p:cBhvr>
                                        <p:cTn id="7" dur="500"/>
                                        <p:tgtEl>
                                          <p:spTgt spid="88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00"/>
                                        </p:tgtEl>
                                        <p:attrNameLst>
                                          <p:attrName>style.visibility</p:attrName>
                                        </p:attrNameLst>
                                      </p:cBhvr>
                                      <p:to>
                                        <p:strVal val="visible"/>
                                      </p:to>
                                    </p:set>
                                    <p:animEffect transition="in" filter="fade">
                                      <p:cBhvr>
                                        <p:cTn id="12" dur="500"/>
                                        <p:tgtEl>
                                          <p:spTgt spid="900"/>
                                        </p:tgtEl>
                                      </p:cBhvr>
                                    </p:animEffect>
                                  </p:childTnLst>
                                </p:cTn>
                              </p:par>
                              <p:par>
                                <p:cTn id="13" presetID="10" presetClass="entr" presetSubtype="0" fill="hold" nodeType="withEffect">
                                  <p:stCondLst>
                                    <p:cond delay="0"/>
                                  </p:stCondLst>
                                  <p:childTnLst>
                                    <p:set>
                                      <p:cBhvr>
                                        <p:cTn id="14" dur="1" fill="hold">
                                          <p:stCondLst>
                                            <p:cond delay="0"/>
                                          </p:stCondLst>
                                        </p:cTn>
                                        <p:tgtEl>
                                          <p:spTgt spid="901"/>
                                        </p:tgtEl>
                                        <p:attrNameLst>
                                          <p:attrName>style.visibility</p:attrName>
                                        </p:attrNameLst>
                                      </p:cBhvr>
                                      <p:to>
                                        <p:strVal val="visible"/>
                                      </p:to>
                                    </p:set>
                                    <p:animEffect transition="in" filter="fade">
                                      <p:cBhvr>
                                        <p:cTn id="15" dur="500"/>
                                        <p:tgtEl>
                                          <p:spTgt spid="90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02"/>
                                        </p:tgtEl>
                                        <p:attrNameLst>
                                          <p:attrName>style.visibility</p:attrName>
                                        </p:attrNameLst>
                                      </p:cBhvr>
                                      <p:to>
                                        <p:strVal val="visible"/>
                                      </p:to>
                                    </p:set>
                                    <p:animEffect transition="in" filter="fade">
                                      <p:cBhvr>
                                        <p:cTn id="20" dur="500"/>
                                        <p:tgtEl>
                                          <p:spTgt spid="9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38"/>
        <p:cNvGrpSpPr/>
        <p:nvPr/>
      </p:nvGrpSpPr>
      <p:grpSpPr>
        <a:xfrm>
          <a:off x="0" y="0"/>
          <a:ext cx="0" cy="0"/>
          <a:chOff x="0" y="0"/>
          <a:chExt cx="0" cy="0"/>
        </a:xfrm>
      </p:grpSpPr>
      <p:pic>
        <p:nvPicPr>
          <p:cNvPr id="939" name="Google Shape;939;p18"/>
          <p:cNvPicPr preferRelativeResize="0"/>
          <p:nvPr/>
        </p:nvPicPr>
        <p:blipFill rotWithShape="1">
          <a:blip r:embed="rId3">
            <a:alphaModFix amt="30000"/>
          </a:blip>
          <a:srcRect/>
          <a:stretch/>
        </p:blipFill>
        <p:spPr>
          <a:xfrm>
            <a:off x="-1591" y="0"/>
            <a:ext cx="12192003" cy="6858000"/>
          </a:xfrm>
          <a:prstGeom prst="rect">
            <a:avLst/>
          </a:prstGeom>
          <a:noFill/>
          <a:ln>
            <a:noFill/>
          </a:ln>
        </p:spPr>
      </p:pic>
      <p:grpSp>
        <p:nvGrpSpPr>
          <p:cNvPr id="940" name="Google Shape;940;p18"/>
          <p:cNvGrpSpPr/>
          <p:nvPr/>
        </p:nvGrpSpPr>
        <p:grpSpPr>
          <a:xfrm>
            <a:off x="2" y="0"/>
            <a:ext cx="12053885" cy="6858000"/>
            <a:chOff x="-14288" y="0"/>
            <a:chExt cx="12053888" cy="6858001"/>
          </a:xfrm>
        </p:grpSpPr>
        <p:grpSp>
          <p:nvGrpSpPr>
            <p:cNvPr id="941" name="Google Shape;941;p18"/>
            <p:cNvGrpSpPr/>
            <p:nvPr/>
          </p:nvGrpSpPr>
          <p:grpSpPr>
            <a:xfrm>
              <a:off x="-14288" y="0"/>
              <a:ext cx="1220788" cy="6858001"/>
              <a:chOff x="-14288" y="0"/>
              <a:chExt cx="1220788" cy="6858001"/>
            </a:xfrm>
          </p:grpSpPr>
          <p:sp>
            <p:nvSpPr>
              <p:cNvPr id="942" name="Google Shape;942;p18"/>
              <p:cNvSpPr/>
              <p:nvPr/>
            </p:nvSpPr>
            <p:spPr>
              <a:xfrm>
                <a:off x="114300" y="4763"/>
                <a:ext cx="23813" cy="2181225"/>
              </a:xfrm>
              <a:prstGeom prst="rect">
                <a:avLst/>
              </a:pr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43" name="Google Shape;943;p18"/>
              <p:cNvSpPr/>
              <p:nvPr/>
            </p:nvSpPr>
            <p:spPr>
              <a:xfrm>
                <a:off x="33337" y="217646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44" name="Google Shape;944;p18"/>
              <p:cNvSpPr/>
              <p:nvPr/>
            </p:nvSpPr>
            <p:spPr>
              <a:xfrm>
                <a:off x="28575" y="4021138"/>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45" name="Google Shape;945;p18"/>
              <p:cNvSpPr/>
              <p:nvPr/>
            </p:nvSpPr>
            <p:spPr>
              <a:xfrm>
                <a:off x="200025" y="4763"/>
                <a:ext cx="369888" cy="1811338"/>
              </a:xfrm>
              <a:custGeom>
                <a:avLst/>
                <a:gdLst/>
                <a:ahLst/>
                <a:cxnLst/>
                <a:rect l="l" t="t" r="r" b="b"/>
                <a:pathLst>
                  <a:path w="233" h="1141" extrusionOk="0">
                    <a:moveTo>
                      <a:pt x="218" y="1141"/>
                    </a:moveTo>
                    <a:lnTo>
                      <a:pt x="0" y="626"/>
                    </a:lnTo>
                    <a:lnTo>
                      <a:pt x="0" y="0"/>
                    </a:lnTo>
                    <a:lnTo>
                      <a:pt x="15" y="0"/>
                    </a:lnTo>
                    <a:lnTo>
                      <a:pt x="15" y="623"/>
                    </a:lnTo>
                    <a:lnTo>
                      <a:pt x="233" y="1135"/>
                    </a:lnTo>
                    <a:lnTo>
                      <a:pt x="218" y="1141"/>
                    </a:lnTo>
                    <a:close/>
                  </a:path>
                </a:pathLst>
              </a:custGeom>
              <a:gradFill>
                <a:gsLst>
                  <a:gs pos="0">
                    <a:schemeClr val="dk2"/>
                  </a:gs>
                  <a:gs pos="100000">
                    <a:srgbClr val="B3FFFF"/>
                  </a:gs>
                </a:gsLst>
                <a:lin ang="5400000" scaled="0"/>
              </a:gradFill>
              <a:ln>
                <a:noFill/>
              </a:ln>
            </p:spPr>
          </p:sp>
          <p:sp>
            <p:nvSpPr>
              <p:cNvPr id="946" name="Google Shape;946;p18"/>
              <p:cNvSpPr/>
              <p:nvPr/>
            </p:nvSpPr>
            <p:spPr>
              <a:xfrm>
                <a:off x="503237" y="1801813"/>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47" name="Google Shape;947;p18"/>
              <p:cNvSpPr/>
              <p:nvPr/>
            </p:nvSpPr>
            <p:spPr>
              <a:xfrm>
                <a:off x="285750" y="4763"/>
                <a:ext cx="369888" cy="1430338"/>
              </a:xfrm>
              <a:custGeom>
                <a:avLst/>
                <a:gdLst/>
                <a:ahLst/>
                <a:cxnLst/>
                <a:rect l="l" t="t" r="r" b="b"/>
                <a:pathLst>
                  <a:path w="233" h="901" extrusionOk="0">
                    <a:moveTo>
                      <a:pt x="221" y="901"/>
                    </a:moveTo>
                    <a:lnTo>
                      <a:pt x="0" y="383"/>
                    </a:lnTo>
                    <a:lnTo>
                      <a:pt x="0" y="0"/>
                    </a:lnTo>
                    <a:lnTo>
                      <a:pt x="18" y="0"/>
                    </a:lnTo>
                    <a:lnTo>
                      <a:pt x="18" y="380"/>
                    </a:lnTo>
                    <a:lnTo>
                      <a:pt x="233" y="895"/>
                    </a:lnTo>
                    <a:lnTo>
                      <a:pt x="221" y="901"/>
                    </a:lnTo>
                    <a:close/>
                  </a:path>
                </a:pathLst>
              </a:custGeom>
              <a:gradFill>
                <a:gsLst>
                  <a:gs pos="0">
                    <a:schemeClr val="dk2"/>
                  </a:gs>
                  <a:gs pos="100000">
                    <a:srgbClr val="B3FFFF"/>
                  </a:gs>
                </a:gsLst>
                <a:lin ang="5400000" scaled="0"/>
              </a:gradFill>
              <a:ln>
                <a:noFill/>
              </a:ln>
            </p:spPr>
          </p:sp>
          <p:sp>
            <p:nvSpPr>
              <p:cNvPr id="948" name="Google Shape;948;p18"/>
              <p:cNvSpPr/>
              <p:nvPr/>
            </p:nvSpPr>
            <p:spPr>
              <a:xfrm>
                <a:off x="546100" y="0"/>
                <a:ext cx="152400" cy="912813"/>
              </a:xfrm>
              <a:custGeom>
                <a:avLst/>
                <a:gdLst/>
                <a:ahLst/>
                <a:cxnLst/>
                <a:rect l="l" t="t" r="r" b="b"/>
                <a:pathLst>
                  <a:path w="96" h="575" extrusionOk="0">
                    <a:moveTo>
                      <a:pt x="96" y="575"/>
                    </a:moveTo>
                    <a:lnTo>
                      <a:pt x="78" y="575"/>
                    </a:lnTo>
                    <a:lnTo>
                      <a:pt x="78" y="192"/>
                    </a:lnTo>
                    <a:lnTo>
                      <a:pt x="0" y="6"/>
                    </a:lnTo>
                    <a:lnTo>
                      <a:pt x="15" y="0"/>
                    </a:lnTo>
                    <a:lnTo>
                      <a:pt x="96" y="189"/>
                    </a:lnTo>
                    <a:lnTo>
                      <a:pt x="96" y="575"/>
                    </a:lnTo>
                    <a:close/>
                  </a:path>
                </a:pathLst>
              </a:custGeom>
              <a:gradFill>
                <a:gsLst>
                  <a:gs pos="0">
                    <a:schemeClr val="dk2"/>
                  </a:gs>
                  <a:gs pos="100000">
                    <a:srgbClr val="B3FFFF"/>
                  </a:gs>
                </a:gsLst>
                <a:lin ang="5400000" scaled="0"/>
              </a:gradFill>
              <a:ln>
                <a:noFill/>
              </a:ln>
            </p:spPr>
          </p:sp>
          <p:sp>
            <p:nvSpPr>
              <p:cNvPr id="949" name="Google Shape;949;p18"/>
              <p:cNvSpPr/>
              <p:nvPr/>
            </p:nvSpPr>
            <p:spPr>
              <a:xfrm>
                <a:off x="588962" y="14208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50" name="Google Shape;950;p18"/>
              <p:cNvSpPr/>
              <p:nvPr/>
            </p:nvSpPr>
            <p:spPr>
              <a:xfrm>
                <a:off x="588962" y="903288"/>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51" name="Google Shape;951;p18"/>
              <p:cNvSpPr/>
              <p:nvPr/>
            </p:nvSpPr>
            <p:spPr>
              <a:xfrm>
                <a:off x="641350" y="0"/>
                <a:ext cx="422275" cy="527050"/>
              </a:xfrm>
              <a:custGeom>
                <a:avLst/>
                <a:gdLst/>
                <a:ahLst/>
                <a:cxnLst/>
                <a:rect l="l" t="t" r="r" b="b"/>
                <a:pathLst>
                  <a:path w="266" h="332" extrusionOk="0">
                    <a:moveTo>
                      <a:pt x="257" y="332"/>
                    </a:moveTo>
                    <a:lnTo>
                      <a:pt x="48" y="123"/>
                    </a:lnTo>
                    <a:lnTo>
                      <a:pt x="0" y="6"/>
                    </a:lnTo>
                    <a:lnTo>
                      <a:pt x="15" y="0"/>
                    </a:lnTo>
                    <a:lnTo>
                      <a:pt x="63" y="114"/>
                    </a:lnTo>
                    <a:lnTo>
                      <a:pt x="266" y="320"/>
                    </a:lnTo>
                    <a:lnTo>
                      <a:pt x="257" y="332"/>
                    </a:lnTo>
                    <a:close/>
                  </a:path>
                </a:pathLst>
              </a:custGeom>
              <a:gradFill>
                <a:gsLst>
                  <a:gs pos="0">
                    <a:schemeClr val="dk2"/>
                  </a:gs>
                  <a:gs pos="100000">
                    <a:srgbClr val="B3FFFF"/>
                  </a:gs>
                </a:gsLst>
                <a:lin ang="5400000" scaled="0"/>
              </a:gradFill>
              <a:ln>
                <a:noFill/>
              </a:ln>
            </p:spPr>
          </p:sp>
          <p:sp>
            <p:nvSpPr>
              <p:cNvPr id="952" name="Google Shape;952;p18"/>
              <p:cNvSpPr/>
              <p:nvPr/>
            </p:nvSpPr>
            <p:spPr>
              <a:xfrm>
                <a:off x="1020762" y="488950"/>
                <a:ext cx="161925" cy="147638"/>
              </a:xfrm>
              <a:custGeom>
                <a:avLst/>
                <a:gdLst/>
                <a:ahLst/>
                <a:cxnLst/>
                <a:rect l="l" t="t" r="r" b="b"/>
                <a:pathLst>
                  <a:path w="34" h="31" extrusionOk="0">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cxnSp>
            <p:nvCxnSpPr>
              <p:cNvPr id="953" name="Google Shape;953;p18"/>
              <p:cNvCxnSpPr/>
              <p:nvPr/>
            </p:nvCxnSpPr>
            <p:spPr>
              <a:xfrm>
                <a:off x="-4763" y="9525"/>
                <a:ext cx="0" cy="0"/>
              </a:xfrm>
              <a:prstGeom prst="straightConnector1">
                <a:avLst/>
              </a:prstGeom>
              <a:gradFill>
                <a:gsLst>
                  <a:gs pos="0">
                    <a:schemeClr val="dk2"/>
                  </a:gs>
                  <a:gs pos="100000">
                    <a:srgbClr val="B3FFFF"/>
                  </a:gs>
                </a:gsLst>
                <a:lin ang="5400000" scaled="0"/>
              </a:gradFill>
              <a:ln w="9525" cap="flat" cmpd="sng">
                <a:solidFill>
                  <a:srgbClr val="FFFFFF"/>
                </a:solidFill>
                <a:prstDash val="solid"/>
                <a:miter lim="800000"/>
                <a:headEnd type="none" w="med" len="med"/>
                <a:tailEnd type="none" w="med" len="med"/>
              </a:ln>
            </p:spPr>
          </p:cxnSp>
          <p:sp>
            <p:nvSpPr>
              <p:cNvPr id="954" name="Google Shape;954;p18"/>
              <p:cNvSpPr/>
              <p:nvPr/>
            </p:nvSpPr>
            <p:spPr>
              <a:xfrm>
                <a:off x="9525" y="1801813"/>
                <a:ext cx="123825" cy="127000"/>
              </a:xfrm>
              <a:custGeom>
                <a:avLst/>
                <a:gdLst/>
                <a:ahLst/>
                <a:cxnLst/>
                <a:rect l="l" t="t" r="r" b="b"/>
                <a:pathLst>
                  <a:path w="78" h="80" extrusionOk="0">
                    <a:moveTo>
                      <a:pt x="6" y="80"/>
                    </a:moveTo>
                    <a:lnTo>
                      <a:pt x="0" y="71"/>
                    </a:lnTo>
                    <a:lnTo>
                      <a:pt x="69" y="0"/>
                    </a:lnTo>
                    <a:lnTo>
                      <a:pt x="78" y="9"/>
                    </a:lnTo>
                    <a:lnTo>
                      <a:pt x="6" y="80"/>
                    </a:lnTo>
                    <a:close/>
                  </a:path>
                </a:pathLst>
              </a:custGeom>
              <a:gradFill>
                <a:gsLst>
                  <a:gs pos="0">
                    <a:schemeClr val="dk2"/>
                  </a:gs>
                  <a:gs pos="100000">
                    <a:srgbClr val="B3FFFF"/>
                  </a:gs>
                </a:gsLst>
                <a:lin ang="5400000" scaled="0"/>
              </a:gradFill>
              <a:ln>
                <a:noFill/>
              </a:ln>
            </p:spPr>
          </p:sp>
          <p:sp>
            <p:nvSpPr>
              <p:cNvPr id="955" name="Google Shape;955;p18"/>
              <p:cNvSpPr/>
              <p:nvPr/>
            </p:nvSpPr>
            <p:spPr>
              <a:xfrm>
                <a:off x="-9525" y="3549650"/>
                <a:ext cx="147638" cy="481013"/>
              </a:xfrm>
              <a:custGeom>
                <a:avLst/>
                <a:gdLst/>
                <a:ahLst/>
                <a:cxnLst/>
                <a:rect l="l" t="t" r="r" b="b"/>
                <a:pathLst>
                  <a:path w="93" h="303" extrusionOk="0">
                    <a:moveTo>
                      <a:pt x="93" y="303"/>
                    </a:moveTo>
                    <a:lnTo>
                      <a:pt x="78" y="303"/>
                    </a:lnTo>
                    <a:lnTo>
                      <a:pt x="78" y="78"/>
                    </a:lnTo>
                    <a:lnTo>
                      <a:pt x="0" y="12"/>
                    </a:lnTo>
                    <a:lnTo>
                      <a:pt x="12" y="0"/>
                    </a:lnTo>
                    <a:lnTo>
                      <a:pt x="93" y="69"/>
                    </a:lnTo>
                    <a:lnTo>
                      <a:pt x="93" y="303"/>
                    </a:lnTo>
                    <a:close/>
                  </a:path>
                </a:pathLst>
              </a:custGeom>
              <a:gradFill>
                <a:gsLst>
                  <a:gs pos="0">
                    <a:schemeClr val="dk2"/>
                  </a:gs>
                  <a:gs pos="100000">
                    <a:srgbClr val="B3FFFF"/>
                  </a:gs>
                </a:gsLst>
                <a:lin ang="5400000" scaled="0"/>
              </a:gradFill>
              <a:ln>
                <a:noFill/>
              </a:ln>
            </p:spPr>
          </p:sp>
          <p:sp>
            <p:nvSpPr>
              <p:cNvPr id="956" name="Google Shape;956;p18"/>
              <p:cNvSpPr/>
              <p:nvPr/>
            </p:nvSpPr>
            <p:spPr>
              <a:xfrm>
                <a:off x="128587" y="1382713"/>
                <a:ext cx="142875" cy="476250"/>
              </a:xfrm>
              <a:custGeom>
                <a:avLst/>
                <a:gdLst/>
                <a:ahLst/>
                <a:cxnLst/>
                <a:rect l="l" t="t" r="r" b="b"/>
                <a:pathLst>
                  <a:path w="90" h="300" extrusionOk="0">
                    <a:moveTo>
                      <a:pt x="90" y="300"/>
                    </a:moveTo>
                    <a:lnTo>
                      <a:pt x="78" y="300"/>
                    </a:lnTo>
                    <a:lnTo>
                      <a:pt x="78" y="84"/>
                    </a:lnTo>
                    <a:lnTo>
                      <a:pt x="0" y="9"/>
                    </a:lnTo>
                    <a:lnTo>
                      <a:pt x="9" y="0"/>
                    </a:lnTo>
                    <a:lnTo>
                      <a:pt x="90" y="81"/>
                    </a:lnTo>
                    <a:lnTo>
                      <a:pt x="90" y="300"/>
                    </a:lnTo>
                    <a:close/>
                  </a:path>
                </a:pathLst>
              </a:custGeom>
              <a:gradFill>
                <a:gsLst>
                  <a:gs pos="0">
                    <a:schemeClr val="dk2"/>
                  </a:gs>
                  <a:gs pos="100000">
                    <a:srgbClr val="B3FFFF"/>
                  </a:gs>
                </a:gsLst>
                <a:lin ang="5400000" scaled="0"/>
              </a:gradFill>
              <a:ln>
                <a:noFill/>
              </a:ln>
            </p:spPr>
          </p:sp>
          <p:sp>
            <p:nvSpPr>
              <p:cNvPr id="957" name="Google Shape;957;p18"/>
              <p:cNvSpPr/>
              <p:nvPr/>
            </p:nvSpPr>
            <p:spPr>
              <a:xfrm>
                <a:off x="204787" y="1849438"/>
                <a:ext cx="114300" cy="107950"/>
              </a:xfrm>
              <a:custGeom>
                <a:avLst/>
                <a:gdLst/>
                <a:ahLst/>
                <a:cxnLst/>
                <a:rect l="l" t="t" r="r" b="b"/>
                <a:pathLst>
                  <a:path w="24" h="23" extrusionOk="0">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58" name="Google Shape;958;p18"/>
              <p:cNvSpPr/>
              <p:nvPr/>
            </p:nvSpPr>
            <p:spPr>
              <a:xfrm>
                <a:off x="133350" y="4662488"/>
                <a:ext cx="23813" cy="2181225"/>
              </a:xfrm>
              <a:prstGeom prst="rect">
                <a:avLst/>
              </a:pr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59" name="Google Shape;959;p18"/>
              <p:cNvSpPr/>
              <p:nvPr/>
            </p:nvSpPr>
            <p:spPr>
              <a:xfrm>
                <a:off x="223837" y="5041900"/>
                <a:ext cx="369888" cy="1801813"/>
              </a:xfrm>
              <a:custGeom>
                <a:avLst/>
                <a:gdLst/>
                <a:ahLst/>
                <a:cxnLst/>
                <a:rect l="l" t="t" r="r" b="b"/>
                <a:pathLst>
                  <a:path w="233" h="1135" extrusionOk="0">
                    <a:moveTo>
                      <a:pt x="15" y="1135"/>
                    </a:moveTo>
                    <a:lnTo>
                      <a:pt x="0" y="1135"/>
                    </a:lnTo>
                    <a:lnTo>
                      <a:pt x="0" y="515"/>
                    </a:lnTo>
                    <a:lnTo>
                      <a:pt x="0" y="512"/>
                    </a:lnTo>
                    <a:lnTo>
                      <a:pt x="218" y="0"/>
                    </a:lnTo>
                    <a:lnTo>
                      <a:pt x="233" y="6"/>
                    </a:lnTo>
                    <a:lnTo>
                      <a:pt x="15" y="518"/>
                    </a:lnTo>
                    <a:lnTo>
                      <a:pt x="15" y="1135"/>
                    </a:lnTo>
                    <a:close/>
                  </a:path>
                </a:pathLst>
              </a:custGeom>
              <a:gradFill>
                <a:gsLst>
                  <a:gs pos="0">
                    <a:schemeClr val="dk2"/>
                  </a:gs>
                  <a:gs pos="100000">
                    <a:srgbClr val="B3FFFF"/>
                  </a:gs>
                </a:gsLst>
                <a:lin ang="5400000" scaled="0"/>
              </a:gradFill>
              <a:ln>
                <a:noFill/>
              </a:ln>
            </p:spPr>
          </p:sp>
          <p:sp>
            <p:nvSpPr>
              <p:cNvPr id="960" name="Google Shape;960;p18"/>
              <p:cNvSpPr/>
              <p:nvPr/>
            </p:nvSpPr>
            <p:spPr>
              <a:xfrm>
                <a:off x="52387" y="44815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61" name="Google Shape;961;p18"/>
              <p:cNvSpPr/>
              <p:nvPr/>
            </p:nvSpPr>
            <p:spPr>
              <a:xfrm>
                <a:off x="-14288" y="5627688"/>
                <a:ext cx="85725" cy="1216025"/>
              </a:xfrm>
              <a:custGeom>
                <a:avLst/>
                <a:gdLst/>
                <a:ahLst/>
                <a:cxnLst/>
                <a:rect l="l" t="t" r="r" b="b"/>
                <a:pathLst>
                  <a:path w="54" h="766" extrusionOk="0">
                    <a:moveTo>
                      <a:pt x="54" y="766"/>
                    </a:moveTo>
                    <a:lnTo>
                      <a:pt x="36" y="766"/>
                    </a:lnTo>
                    <a:lnTo>
                      <a:pt x="36" y="149"/>
                    </a:lnTo>
                    <a:lnTo>
                      <a:pt x="0" y="3"/>
                    </a:lnTo>
                    <a:lnTo>
                      <a:pt x="18" y="0"/>
                    </a:lnTo>
                    <a:lnTo>
                      <a:pt x="54" y="146"/>
                    </a:lnTo>
                    <a:lnTo>
                      <a:pt x="54" y="766"/>
                    </a:lnTo>
                    <a:close/>
                  </a:path>
                </a:pathLst>
              </a:custGeom>
              <a:gradFill>
                <a:gsLst>
                  <a:gs pos="0">
                    <a:schemeClr val="dk2"/>
                  </a:gs>
                  <a:gs pos="100000">
                    <a:srgbClr val="B3FFFF"/>
                  </a:gs>
                </a:gsLst>
                <a:lin ang="5400000" scaled="0"/>
              </a:gradFill>
              <a:ln>
                <a:noFill/>
              </a:ln>
            </p:spPr>
          </p:sp>
          <p:sp>
            <p:nvSpPr>
              <p:cNvPr id="962" name="Google Shape;962;p18"/>
              <p:cNvSpPr/>
              <p:nvPr/>
            </p:nvSpPr>
            <p:spPr>
              <a:xfrm>
                <a:off x="527050" y="4867275"/>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63" name="Google Shape;963;p18"/>
              <p:cNvSpPr/>
              <p:nvPr/>
            </p:nvSpPr>
            <p:spPr>
              <a:xfrm>
                <a:off x="309562" y="5422900"/>
                <a:ext cx="374650" cy="1425575"/>
              </a:xfrm>
              <a:custGeom>
                <a:avLst/>
                <a:gdLst/>
                <a:ahLst/>
                <a:cxnLst/>
                <a:rect l="l" t="t" r="r" b="b"/>
                <a:pathLst>
                  <a:path w="236" h="898" extrusionOk="0">
                    <a:moveTo>
                      <a:pt x="18" y="898"/>
                    </a:moveTo>
                    <a:lnTo>
                      <a:pt x="0" y="898"/>
                    </a:lnTo>
                    <a:lnTo>
                      <a:pt x="0" y="515"/>
                    </a:lnTo>
                    <a:lnTo>
                      <a:pt x="3" y="512"/>
                    </a:lnTo>
                    <a:lnTo>
                      <a:pt x="221" y="0"/>
                    </a:lnTo>
                    <a:lnTo>
                      <a:pt x="236" y="6"/>
                    </a:lnTo>
                    <a:lnTo>
                      <a:pt x="18" y="518"/>
                    </a:lnTo>
                    <a:lnTo>
                      <a:pt x="18" y="898"/>
                    </a:lnTo>
                    <a:close/>
                  </a:path>
                </a:pathLst>
              </a:custGeom>
              <a:gradFill>
                <a:gsLst>
                  <a:gs pos="0">
                    <a:schemeClr val="dk2"/>
                  </a:gs>
                  <a:gs pos="100000">
                    <a:srgbClr val="B3FFFF"/>
                  </a:gs>
                </a:gsLst>
                <a:lin ang="5400000" scaled="0"/>
              </a:gradFill>
              <a:ln>
                <a:noFill/>
              </a:ln>
            </p:spPr>
          </p:sp>
          <p:sp>
            <p:nvSpPr>
              <p:cNvPr id="964" name="Google Shape;964;p18"/>
              <p:cNvSpPr/>
              <p:nvPr/>
            </p:nvSpPr>
            <p:spPr>
              <a:xfrm>
                <a:off x="569912" y="5945188"/>
                <a:ext cx="152400" cy="912813"/>
              </a:xfrm>
              <a:custGeom>
                <a:avLst/>
                <a:gdLst/>
                <a:ahLst/>
                <a:cxnLst/>
                <a:rect l="l" t="t" r="r" b="b"/>
                <a:pathLst>
                  <a:path w="96" h="575" extrusionOk="0">
                    <a:moveTo>
                      <a:pt x="15" y="575"/>
                    </a:moveTo>
                    <a:lnTo>
                      <a:pt x="0" y="569"/>
                    </a:lnTo>
                    <a:lnTo>
                      <a:pt x="81" y="383"/>
                    </a:lnTo>
                    <a:lnTo>
                      <a:pt x="81" y="0"/>
                    </a:lnTo>
                    <a:lnTo>
                      <a:pt x="96" y="0"/>
                    </a:lnTo>
                    <a:lnTo>
                      <a:pt x="96" y="386"/>
                    </a:lnTo>
                    <a:lnTo>
                      <a:pt x="15" y="575"/>
                    </a:lnTo>
                    <a:close/>
                  </a:path>
                </a:pathLst>
              </a:custGeom>
              <a:gradFill>
                <a:gsLst>
                  <a:gs pos="0">
                    <a:schemeClr val="dk2"/>
                  </a:gs>
                  <a:gs pos="100000">
                    <a:srgbClr val="B3FFFF"/>
                  </a:gs>
                </a:gsLst>
                <a:lin ang="5400000" scaled="0"/>
              </a:gradFill>
              <a:ln>
                <a:noFill/>
              </a:ln>
            </p:spPr>
          </p:sp>
          <p:sp>
            <p:nvSpPr>
              <p:cNvPr id="965" name="Google Shape;965;p18"/>
              <p:cNvSpPr/>
              <p:nvPr/>
            </p:nvSpPr>
            <p:spPr>
              <a:xfrm>
                <a:off x="612775" y="5246688"/>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66" name="Google Shape;966;p18"/>
              <p:cNvSpPr/>
              <p:nvPr/>
            </p:nvSpPr>
            <p:spPr>
              <a:xfrm>
                <a:off x="612775" y="57642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67" name="Google Shape;967;p18"/>
              <p:cNvSpPr/>
              <p:nvPr/>
            </p:nvSpPr>
            <p:spPr>
              <a:xfrm>
                <a:off x="669925" y="6330950"/>
                <a:ext cx="417513" cy="517525"/>
              </a:xfrm>
              <a:custGeom>
                <a:avLst/>
                <a:gdLst/>
                <a:ahLst/>
                <a:cxnLst/>
                <a:rect l="l" t="t" r="r" b="b"/>
                <a:pathLst>
                  <a:path w="263" h="326" extrusionOk="0">
                    <a:moveTo>
                      <a:pt x="15" y="326"/>
                    </a:moveTo>
                    <a:lnTo>
                      <a:pt x="0" y="320"/>
                    </a:lnTo>
                    <a:lnTo>
                      <a:pt x="45" y="206"/>
                    </a:lnTo>
                    <a:lnTo>
                      <a:pt x="48" y="206"/>
                    </a:lnTo>
                    <a:lnTo>
                      <a:pt x="254" y="0"/>
                    </a:lnTo>
                    <a:lnTo>
                      <a:pt x="263" y="12"/>
                    </a:lnTo>
                    <a:lnTo>
                      <a:pt x="60" y="215"/>
                    </a:lnTo>
                    <a:lnTo>
                      <a:pt x="15" y="326"/>
                    </a:lnTo>
                    <a:close/>
                  </a:path>
                </a:pathLst>
              </a:custGeom>
              <a:gradFill>
                <a:gsLst>
                  <a:gs pos="0">
                    <a:schemeClr val="dk2"/>
                  </a:gs>
                  <a:gs pos="100000">
                    <a:srgbClr val="B3FFFF"/>
                  </a:gs>
                </a:gsLst>
                <a:lin ang="5400000" scaled="0"/>
              </a:gradFill>
              <a:ln>
                <a:noFill/>
              </a:ln>
            </p:spPr>
          </p:sp>
          <p:sp>
            <p:nvSpPr>
              <p:cNvPr id="968" name="Google Shape;968;p18"/>
              <p:cNvSpPr/>
              <p:nvPr/>
            </p:nvSpPr>
            <p:spPr>
              <a:xfrm>
                <a:off x="1049337" y="6221413"/>
                <a:ext cx="157163" cy="147638"/>
              </a:xfrm>
              <a:custGeom>
                <a:avLst/>
                <a:gdLst/>
                <a:ahLst/>
                <a:cxnLst/>
                <a:rect l="l" t="t" r="r" b="b"/>
                <a:pathLst>
                  <a:path w="33" h="31" extrusionOk="0">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grpSp>
        <p:grpSp>
          <p:nvGrpSpPr>
            <p:cNvPr id="969" name="Google Shape;969;p18"/>
            <p:cNvGrpSpPr/>
            <p:nvPr/>
          </p:nvGrpSpPr>
          <p:grpSpPr>
            <a:xfrm>
              <a:off x="11364912" y="0"/>
              <a:ext cx="674688" cy="6848476"/>
              <a:chOff x="11364912" y="0"/>
              <a:chExt cx="674688" cy="6848476"/>
            </a:xfrm>
          </p:grpSpPr>
          <p:sp>
            <p:nvSpPr>
              <p:cNvPr id="970" name="Google Shape;970;p18"/>
              <p:cNvSpPr/>
              <p:nvPr/>
            </p:nvSpPr>
            <p:spPr>
              <a:xfrm>
                <a:off x="11483975" y="0"/>
                <a:ext cx="417513" cy="512763"/>
              </a:xfrm>
              <a:custGeom>
                <a:avLst/>
                <a:gdLst/>
                <a:ahLst/>
                <a:cxnLst/>
                <a:rect l="l" t="t" r="r" b="b"/>
                <a:pathLst>
                  <a:path w="263" h="323" extrusionOk="0">
                    <a:moveTo>
                      <a:pt x="12" y="323"/>
                    </a:moveTo>
                    <a:lnTo>
                      <a:pt x="0" y="314"/>
                    </a:lnTo>
                    <a:lnTo>
                      <a:pt x="203" y="108"/>
                    </a:lnTo>
                    <a:lnTo>
                      <a:pt x="248" y="0"/>
                    </a:lnTo>
                    <a:lnTo>
                      <a:pt x="263" y="6"/>
                    </a:lnTo>
                    <a:lnTo>
                      <a:pt x="218" y="117"/>
                    </a:lnTo>
                    <a:lnTo>
                      <a:pt x="218" y="117"/>
                    </a:lnTo>
                    <a:lnTo>
                      <a:pt x="12" y="323"/>
                    </a:lnTo>
                    <a:close/>
                  </a:path>
                </a:pathLst>
              </a:custGeom>
              <a:gradFill>
                <a:gsLst>
                  <a:gs pos="0">
                    <a:srgbClr val="134770">
                      <a:alpha val="80000"/>
                    </a:srgbClr>
                  </a:gs>
                  <a:gs pos="100000">
                    <a:srgbClr val="B3FFFF">
                      <a:alpha val="60000"/>
                    </a:srgbClr>
                  </a:gs>
                </a:gsLst>
                <a:lin ang="5400000" scaled="0"/>
              </a:gradFill>
              <a:ln>
                <a:noFill/>
              </a:ln>
            </p:spPr>
          </p:sp>
          <p:sp>
            <p:nvSpPr>
              <p:cNvPr id="971" name="Google Shape;971;p18"/>
              <p:cNvSpPr/>
              <p:nvPr/>
            </p:nvSpPr>
            <p:spPr>
              <a:xfrm>
                <a:off x="11364912" y="474663"/>
                <a:ext cx="157163" cy="152400"/>
              </a:xfrm>
              <a:custGeom>
                <a:avLst/>
                <a:gdLst/>
                <a:ahLst/>
                <a:cxnLst/>
                <a:rect l="l" t="t" r="r" b="b"/>
                <a:pathLst>
                  <a:path w="33" h="32" extrusionOk="0">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adFill>
                <a:gsLst>
                  <a:gs pos="0">
                    <a:srgbClr val="134770">
                      <a:alpha val="80000"/>
                    </a:srgbClr>
                  </a:gs>
                  <a:gs pos="100000">
                    <a:srgbClr val="B3FFFF">
                      <a:alpha val="60000"/>
                    </a:srgbClr>
                  </a:gs>
                </a:gsLst>
                <a:lin ang="5400000" scaled="0"/>
              </a:gradFill>
              <a:ln>
                <a:noFill/>
              </a:ln>
            </p:spPr>
            <p:txBody>
              <a:bodyPr spcFirstLastPara="1" wrap="square" lIns="121900" tIns="121900" rIns="121900" bIns="121900" anchor="ctr" anchorCtr="0">
                <a:noAutofit/>
              </a:bodyPr>
              <a:lstStyle/>
              <a:p>
                <a:endParaRPr sz="2400"/>
              </a:p>
            </p:txBody>
          </p:sp>
          <p:sp>
            <p:nvSpPr>
              <p:cNvPr id="972" name="Google Shape;972;p18"/>
              <p:cNvSpPr/>
              <p:nvPr/>
            </p:nvSpPr>
            <p:spPr>
              <a:xfrm>
                <a:off x="11631612" y="1539875"/>
                <a:ext cx="188913"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rgbClr val="134770">
                      <a:alpha val="80000"/>
                    </a:srgbClr>
                  </a:gs>
                  <a:gs pos="100000">
                    <a:srgbClr val="B3FFFF">
                      <a:alpha val="60000"/>
                    </a:srgbClr>
                  </a:gs>
                </a:gsLst>
                <a:lin ang="5400000" scaled="0"/>
              </a:gradFill>
              <a:ln>
                <a:noFill/>
              </a:ln>
            </p:spPr>
            <p:txBody>
              <a:bodyPr spcFirstLastPara="1" wrap="square" lIns="121900" tIns="121900" rIns="121900" bIns="121900" anchor="ctr" anchorCtr="0">
                <a:noAutofit/>
              </a:bodyPr>
              <a:lstStyle/>
              <a:p>
                <a:endParaRPr sz="2400"/>
              </a:p>
            </p:txBody>
          </p:sp>
          <p:sp>
            <p:nvSpPr>
              <p:cNvPr id="973" name="Google Shape;973;p18"/>
              <p:cNvSpPr/>
              <p:nvPr/>
            </p:nvSpPr>
            <p:spPr>
              <a:xfrm>
                <a:off x="11531600" y="5694363"/>
                <a:ext cx="298450" cy="1154113"/>
              </a:xfrm>
              <a:custGeom>
                <a:avLst/>
                <a:gdLst/>
                <a:ahLst/>
                <a:cxnLst/>
                <a:rect l="l" t="t" r="r" b="b"/>
                <a:pathLst>
                  <a:path w="188" h="727" extrusionOk="0">
                    <a:moveTo>
                      <a:pt x="15" y="727"/>
                    </a:moveTo>
                    <a:lnTo>
                      <a:pt x="0" y="727"/>
                    </a:lnTo>
                    <a:lnTo>
                      <a:pt x="0" y="407"/>
                    </a:lnTo>
                    <a:lnTo>
                      <a:pt x="0" y="407"/>
                    </a:lnTo>
                    <a:lnTo>
                      <a:pt x="176" y="0"/>
                    </a:lnTo>
                    <a:lnTo>
                      <a:pt x="188" y="6"/>
                    </a:lnTo>
                    <a:lnTo>
                      <a:pt x="15" y="410"/>
                    </a:lnTo>
                    <a:lnTo>
                      <a:pt x="15" y="727"/>
                    </a:lnTo>
                    <a:close/>
                  </a:path>
                </a:pathLst>
              </a:custGeom>
              <a:gradFill>
                <a:gsLst>
                  <a:gs pos="0">
                    <a:srgbClr val="134770">
                      <a:alpha val="80000"/>
                    </a:srgbClr>
                  </a:gs>
                  <a:gs pos="100000">
                    <a:srgbClr val="B3FFFF">
                      <a:alpha val="60000"/>
                    </a:srgbClr>
                  </a:gs>
                </a:gsLst>
                <a:lin ang="5400000" scaled="0"/>
              </a:gradFill>
              <a:ln>
                <a:noFill/>
              </a:ln>
            </p:spPr>
          </p:sp>
          <p:sp>
            <p:nvSpPr>
              <p:cNvPr id="974" name="Google Shape;974;p18"/>
              <p:cNvSpPr/>
              <p:nvPr/>
            </p:nvSpPr>
            <p:spPr>
              <a:xfrm>
                <a:off x="11772900" y="5551488"/>
                <a:ext cx="157163" cy="155575"/>
              </a:xfrm>
              <a:custGeom>
                <a:avLst/>
                <a:gdLst/>
                <a:ahLst/>
                <a:cxnLst/>
                <a:rect l="l" t="t" r="r" b="b"/>
                <a:pathLst>
                  <a:path w="33" h="33" extrusionOk="0">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adFill>
                <a:gsLst>
                  <a:gs pos="0">
                    <a:srgbClr val="134770">
                      <a:alpha val="80000"/>
                    </a:srgbClr>
                  </a:gs>
                  <a:gs pos="100000">
                    <a:srgbClr val="B3FFFF">
                      <a:alpha val="60000"/>
                    </a:srgbClr>
                  </a:gs>
                </a:gsLst>
                <a:lin ang="5400000" scaled="0"/>
              </a:gradFill>
              <a:ln>
                <a:noFill/>
              </a:ln>
            </p:spPr>
            <p:txBody>
              <a:bodyPr spcFirstLastPara="1" wrap="square" lIns="121900" tIns="121900" rIns="121900" bIns="121900" anchor="ctr" anchorCtr="0">
                <a:noAutofit/>
              </a:bodyPr>
              <a:lstStyle/>
              <a:p>
                <a:endParaRPr sz="2400"/>
              </a:p>
            </p:txBody>
          </p:sp>
          <p:sp>
            <p:nvSpPr>
              <p:cNvPr id="975" name="Google Shape;975;p18"/>
              <p:cNvSpPr/>
              <p:nvPr/>
            </p:nvSpPr>
            <p:spPr>
              <a:xfrm>
                <a:off x="11710987" y="4763"/>
                <a:ext cx="304800" cy="1544638"/>
              </a:xfrm>
              <a:custGeom>
                <a:avLst/>
                <a:gdLst/>
                <a:ahLst/>
                <a:cxnLst/>
                <a:rect l="l" t="t" r="r" b="b"/>
                <a:pathLst>
                  <a:path w="192" h="973" extrusionOk="0">
                    <a:moveTo>
                      <a:pt x="15" y="973"/>
                    </a:moveTo>
                    <a:lnTo>
                      <a:pt x="0" y="973"/>
                    </a:lnTo>
                    <a:lnTo>
                      <a:pt x="0" y="790"/>
                    </a:lnTo>
                    <a:lnTo>
                      <a:pt x="174" y="614"/>
                    </a:lnTo>
                    <a:lnTo>
                      <a:pt x="174" y="0"/>
                    </a:lnTo>
                    <a:lnTo>
                      <a:pt x="192" y="0"/>
                    </a:lnTo>
                    <a:lnTo>
                      <a:pt x="192" y="620"/>
                    </a:lnTo>
                    <a:lnTo>
                      <a:pt x="15" y="796"/>
                    </a:lnTo>
                    <a:lnTo>
                      <a:pt x="15" y="973"/>
                    </a:lnTo>
                    <a:close/>
                  </a:path>
                </a:pathLst>
              </a:custGeom>
              <a:gradFill>
                <a:gsLst>
                  <a:gs pos="0">
                    <a:srgbClr val="134770">
                      <a:alpha val="80000"/>
                    </a:srgbClr>
                  </a:gs>
                  <a:gs pos="100000">
                    <a:srgbClr val="B3FFFF">
                      <a:alpha val="60000"/>
                    </a:srgbClr>
                  </a:gs>
                </a:gsLst>
                <a:lin ang="5400000" scaled="0"/>
              </a:gradFill>
              <a:ln>
                <a:noFill/>
              </a:ln>
            </p:spPr>
          </p:sp>
          <p:sp>
            <p:nvSpPr>
              <p:cNvPr id="976" name="Google Shape;976;p18"/>
              <p:cNvSpPr/>
              <p:nvPr/>
            </p:nvSpPr>
            <p:spPr>
              <a:xfrm>
                <a:off x="11636375" y="4867275"/>
                <a:ext cx="188913"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rgbClr val="134770">
                      <a:alpha val="80000"/>
                    </a:srgbClr>
                  </a:gs>
                  <a:gs pos="100000">
                    <a:srgbClr val="B3FFFF">
                      <a:alpha val="60000"/>
                    </a:srgbClr>
                  </a:gs>
                </a:gsLst>
                <a:lin ang="5400000" scaled="0"/>
              </a:gradFill>
              <a:ln>
                <a:noFill/>
              </a:ln>
            </p:spPr>
            <p:txBody>
              <a:bodyPr spcFirstLastPara="1" wrap="square" lIns="121900" tIns="121900" rIns="121900" bIns="121900" anchor="ctr" anchorCtr="0">
                <a:noAutofit/>
              </a:bodyPr>
              <a:lstStyle/>
              <a:p>
                <a:endParaRPr sz="2400"/>
              </a:p>
            </p:txBody>
          </p:sp>
          <p:sp>
            <p:nvSpPr>
              <p:cNvPr id="977" name="Google Shape;977;p18"/>
              <p:cNvSpPr/>
              <p:nvPr/>
            </p:nvSpPr>
            <p:spPr>
              <a:xfrm>
                <a:off x="11441112" y="5046663"/>
                <a:ext cx="307975" cy="1801813"/>
              </a:xfrm>
              <a:custGeom>
                <a:avLst/>
                <a:gdLst/>
                <a:ahLst/>
                <a:cxnLst/>
                <a:rect l="l" t="t" r="r" b="b"/>
                <a:pathLst>
                  <a:path w="194" h="1135" extrusionOk="0">
                    <a:moveTo>
                      <a:pt x="18" y="1135"/>
                    </a:moveTo>
                    <a:lnTo>
                      <a:pt x="0" y="1135"/>
                    </a:lnTo>
                    <a:lnTo>
                      <a:pt x="0" y="354"/>
                    </a:lnTo>
                    <a:lnTo>
                      <a:pt x="176" y="177"/>
                    </a:lnTo>
                    <a:lnTo>
                      <a:pt x="176" y="0"/>
                    </a:lnTo>
                    <a:lnTo>
                      <a:pt x="194" y="0"/>
                    </a:lnTo>
                    <a:lnTo>
                      <a:pt x="194" y="183"/>
                    </a:lnTo>
                    <a:lnTo>
                      <a:pt x="18" y="360"/>
                    </a:lnTo>
                    <a:lnTo>
                      <a:pt x="18" y="1135"/>
                    </a:lnTo>
                    <a:close/>
                  </a:path>
                </a:pathLst>
              </a:custGeom>
              <a:gradFill>
                <a:gsLst>
                  <a:gs pos="0">
                    <a:srgbClr val="134770">
                      <a:alpha val="80000"/>
                    </a:srgbClr>
                  </a:gs>
                  <a:gs pos="100000">
                    <a:srgbClr val="B3FFFF">
                      <a:alpha val="60000"/>
                    </a:srgbClr>
                  </a:gs>
                </a:gsLst>
                <a:lin ang="5400000" scaled="0"/>
              </a:gradFill>
              <a:ln>
                <a:noFill/>
              </a:ln>
            </p:spPr>
          </p:sp>
          <p:sp>
            <p:nvSpPr>
              <p:cNvPr id="978" name="Google Shape;978;p18"/>
              <p:cNvSpPr/>
              <p:nvPr/>
            </p:nvSpPr>
            <p:spPr>
              <a:xfrm>
                <a:off x="11849100" y="6416675"/>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rgbClr val="134770">
                      <a:alpha val="80000"/>
                    </a:srgbClr>
                  </a:gs>
                  <a:gs pos="100000">
                    <a:srgbClr val="B3FFFF">
                      <a:alpha val="60000"/>
                    </a:srgbClr>
                  </a:gs>
                </a:gsLst>
                <a:lin ang="5400000" scaled="0"/>
              </a:gradFill>
              <a:ln>
                <a:noFill/>
              </a:ln>
            </p:spPr>
            <p:txBody>
              <a:bodyPr spcFirstLastPara="1" wrap="square" lIns="121900" tIns="121900" rIns="121900" bIns="121900" anchor="ctr" anchorCtr="0">
                <a:noAutofit/>
              </a:bodyPr>
              <a:lstStyle/>
              <a:p>
                <a:endParaRPr sz="2400"/>
              </a:p>
            </p:txBody>
          </p:sp>
          <p:sp>
            <p:nvSpPr>
              <p:cNvPr id="979" name="Google Shape;979;p18"/>
              <p:cNvSpPr/>
              <p:nvPr/>
            </p:nvSpPr>
            <p:spPr>
              <a:xfrm>
                <a:off x="11939587" y="6596063"/>
                <a:ext cx="23813" cy="252413"/>
              </a:xfrm>
              <a:prstGeom prst="rect">
                <a:avLst/>
              </a:prstGeom>
              <a:gradFill>
                <a:gsLst>
                  <a:gs pos="0">
                    <a:srgbClr val="134770">
                      <a:alpha val="80000"/>
                    </a:srgbClr>
                  </a:gs>
                  <a:gs pos="100000">
                    <a:srgbClr val="B3FFFF">
                      <a:alpha val="60000"/>
                    </a:srgbClr>
                  </a:gs>
                </a:gsLst>
                <a:lin ang="5400000" scaled="0"/>
              </a:gradFill>
              <a:ln>
                <a:noFill/>
              </a:ln>
            </p:spPr>
            <p:txBody>
              <a:bodyPr spcFirstLastPara="1" wrap="square" lIns="121900" tIns="121900" rIns="121900" bIns="121900" anchor="ctr" anchorCtr="0">
                <a:noAutofit/>
              </a:bodyPr>
              <a:lstStyle/>
              <a:p>
                <a:endParaRPr sz="2400"/>
              </a:p>
            </p:txBody>
          </p:sp>
        </p:grpSp>
      </p:grpSp>
      <p:sp>
        <p:nvSpPr>
          <p:cNvPr id="980" name="Google Shape;980;p18"/>
          <p:cNvSpPr/>
          <p:nvPr/>
        </p:nvSpPr>
        <p:spPr>
          <a:xfrm>
            <a:off x="0" y="1"/>
            <a:ext cx="12192000" cy="6857999"/>
          </a:xfrm>
          <a:prstGeom prst="rect">
            <a:avLst/>
          </a:prstGeom>
          <a:solidFill>
            <a:schemeClr val="lt1"/>
          </a:solidFill>
          <a:ln>
            <a:noFill/>
          </a:ln>
        </p:spPr>
        <p:txBody>
          <a:bodyPr spcFirstLastPara="1" wrap="square" lIns="121900" tIns="60933" rIns="121900" bIns="60933" anchor="ctr" anchorCtr="0">
            <a:noAutofit/>
          </a:bodyPr>
          <a:lstStyle/>
          <a:p>
            <a:pPr algn="ctr"/>
            <a:endParaRPr sz="2400">
              <a:solidFill>
                <a:schemeClr val="lt1"/>
              </a:solidFill>
              <a:latin typeface="Twentieth Century"/>
              <a:ea typeface="Twentieth Century"/>
              <a:cs typeface="Twentieth Century"/>
              <a:sym typeface="Twentieth Century"/>
            </a:endParaRPr>
          </a:p>
        </p:txBody>
      </p:sp>
      <p:grpSp>
        <p:nvGrpSpPr>
          <p:cNvPr id="981" name="Google Shape;981;p18"/>
          <p:cNvGrpSpPr/>
          <p:nvPr/>
        </p:nvGrpSpPr>
        <p:grpSpPr>
          <a:xfrm>
            <a:off x="-6100" y="-11384"/>
            <a:ext cx="1220805" cy="6857999"/>
            <a:chOff x="-14288" y="0"/>
            <a:chExt cx="1220788" cy="6858001"/>
          </a:xfrm>
        </p:grpSpPr>
        <p:sp>
          <p:nvSpPr>
            <p:cNvPr id="982" name="Google Shape;982;p18"/>
            <p:cNvSpPr/>
            <p:nvPr/>
          </p:nvSpPr>
          <p:spPr>
            <a:xfrm>
              <a:off x="114300" y="4763"/>
              <a:ext cx="23813" cy="2181225"/>
            </a:xfrm>
            <a:prstGeom prst="rect">
              <a:avLst/>
            </a:pr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83" name="Google Shape;983;p18"/>
            <p:cNvSpPr/>
            <p:nvPr/>
          </p:nvSpPr>
          <p:spPr>
            <a:xfrm>
              <a:off x="33337" y="217646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84" name="Google Shape;984;p18"/>
            <p:cNvSpPr/>
            <p:nvPr/>
          </p:nvSpPr>
          <p:spPr>
            <a:xfrm>
              <a:off x="28575" y="4021138"/>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85" name="Google Shape;985;p18"/>
            <p:cNvSpPr/>
            <p:nvPr/>
          </p:nvSpPr>
          <p:spPr>
            <a:xfrm>
              <a:off x="200025" y="4763"/>
              <a:ext cx="369888" cy="1811338"/>
            </a:xfrm>
            <a:custGeom>
              <a:avLst/>
              <a:gdLst/>
              <a:ahLst/>
              <a:cxnLst/>
              <a:rect l="l" t="t" r="r" b="b"/>
              <a:pathLst>
                <a:path w="233" h="1141" extrusionOk="0">
                  <a:moveTo>
                    <a:pt x="218" y="1141"/>
                  </a:moveTo>
                  <a:lnTo>
                    <a:pt x="0" y="626"/>
                  </a:lnTo>
                  <a:lnTo>
                    <a:pt x="0" y="0"/>
                  </a:lnTo>
                  <a:lnTo>
                    <a:pt x="15" y="0"/>
                  </a:lnTo>
                  <a:lnTo>
                    <a:pt x="15" y="623"/>
                  </a:lnTo>
                  <a:lnTo>
                    <a:pt x="233" y="1135"/>
                  </a:lnTo>
                  <a:lnTo>
                    <a:pt x="218" y="1141"/>
                  </a:lnTo>
                  <a:close/>
                </a:path>
              </a:pathLst>
            </a:custGeom>
            <a:gradFill>
              <a:gsLst>
                <a:gs pos="0">
                  <a:schemeClr val="dk2"/>
                </a:gs>
                <a:gs pos="100000">
                  <a:srgbClr val="B3FFFF"/>
                </a:gs>
              </a:gsLst>
              <a:lin ang="5400000" scaled="0"/>
            </a:gradFill>
            <a:ln>
              <a:noFill/>
            </a:ln>
          </p:spPr>
        </p:sp>
        <p:sp>
          <p:nvSpPr>
            <p:cNvPr id="986" name="Google Shape;986;p18"/>
            <p:cNvSpPr/>
            <p:nvPr/>
          </p:nvSpPr>
          <p:spPr>
            <a:xfrm>
              <a:off x="503237" y="1801813"/>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87" name="Google Shape;987;p18"/>
            <p:cNvSpPr/>
            <p:nvPr/>
          </p:nvSpPr>
          <p:spPr>
            <a:xfrm>
              <a:off x="285750" y="4763"/>
              <a:ext cx="369888" cy="1430338"/>
            </a:xfrm>
            <a:custGeom>
              <a:avLst/>
              <a:gdLst/>
              <a:ahLst/>
              <a:cxnLst/>
              <a:rect l="l" t="t" r="r" b="b"/>
              <a:pathLst>
                <a:path w="233" h="901" extrusionOk="0">
                  <a:moveTo>
                    <a:pt x="221" y="901"/>
                  </a:moveTo>
                  <a:lnTo>
                    <a:pt x="0" y="383"/>
                  </a:lnTo>
                  <a:lnTo>
                    <a:pt x="0" y="0"/>
                  </a:lnTo>
                  <a:lnTo>
                    <a:pt x="18" y="0"/>
                  </a:lnTo>
                  <a:lnTo>
                    <a:pt x="18" y="380"/>
                  </a:lnTo>
                  <a:lnTo>
                    <a:pt x="233" y="895"/>
                  </a:lnTo>
                  <a:lnTo>
                    <a:pt x="221" y="901"/>
                  </a:lnTo>
                  <a:close/>
                </a:path>
              </a:pathLst>
            </a:custGeom>
            <a:gradFill>
              <a:gsLst>
                <a:gs pos="0">
                  <a:schemeClr val="dk2"/>
                </a:gs>
                <a:gs pos="100000">
                  <a:srgbClr val="B3FFFF"/>
                </a:gs>
              </a:gsLst>
              <a:lin ang="5400000" scaled="0"/>
            </a:gradFill>
            <a:ln>
              <a:noFill/>
            </a:ln>
          </p:spPr>
        </p:sp>
        <p:sp>
          <p:nvSpPr>
            <p:cNvPr id="988" name="Google Shape;988;p18"/>
            <p:cNvSpPr/>
            <p:nvPr/>
          </p:nvSpPr>
          <p:spPr>
            <a:xfrm>
              <a:off x="546100" y="0"/>
              <a:ext cx="152400" cy="912813"/>
            </a:xfrm>
            <a:custGeom>
              <a:avLst/>
              <a:gdLst/>
              <a:ahLst/>
              <a:cxnLst/>
              <a:rect l="l" t="t" r="r" b="b"/>
              <a:pathLst>
                <a:path w="96" h="575" extrusionOk="0">
                  <a:moveTo>
                    <a:pt x="96" y="575"/>
                  </a:moveTo>
                  <a:lnTo>
                    <a:pt x="78" y="575"/>
                  </a:lnTo>
                  <a:lnTo>
                    <a:pt x="78" y="192"/>
                  </a:lnTo>
                  <a:lnTo>
                    <a:pt x="0" y="6"/>
                  </a:lnTo>
                  <a:lnTo>
                    <a:pt x="15" y="0"/>
                  </a:lnTo>
                  <a:lnTo>
                    <a:pt x="96" y="189"/>
                  </a:lnTo>
                  <a:lnTo>
                    <a:pt x="96" y="575"/>
                  </a:lnTo>
                  <a:close/>
                </a:path>
              </a:pathLst>
            </a:custGeom>
            <a:gradFill>
              <a:gsLst>
                <a:gs pos="0">
                  <a:schemeClr val="dk2"/>
                </a:gs>
                <a:gs pos="100000">
                  <a:srgbClr val="B3FFFF"/>
                </a:gs>
              </a:gsLst>
              <a:lin ang="5400000" scaled="0"/>
            </a:gradFill>
            <a:ln>
              <a:noFill/>
            </a:ln>
          </p:spPr>
        </p:sp>
        <p:sp>
          <p:nvSpPr>
            <p:cNvPr id="989" name="Google Shape;989;p18"/>
            <p:cNvSpPr/>
            <p:nvPr/>
          </p:nvSpPr>
          <p:spPr>
            <a:xfrm>
              <a:off x="588962" y="14208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90" name="Google Shape;990;p18"/>
            <p:cNvSpPr/>
            <p:nvPr/>
          </p:nvSpPr>
          <p:spPr>
            <a:xfrm>
              <a:off x="588962" y="903288"/>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91" name="Google Shape;991;p18"/>
            <p:cNvSpPr/>
            <p:nvPr/>
          </p:nvSpPr>
          <p:spPr>
            <a:xfrm>
              <a:off x="641350" y="0"/>
              <a:ext cx="422275" cy="527050"/>
            </a:xfrm>
            <a:custGeom>
              <a:avLst/>
              <a:gdLst/>
              <a:ahLst/>
              <a:cxnLst/>
              <a:rect l="l" t="t" r="r" b="b"/>
              <a:pathLst>
                <a:path w="266" h="332" extrusionOk="0">
                  <a:moveTo>
                    <a:pt x="257" y="332"/>
                  </a:moveTo>
                  <a:lnTo>
                    <a:pt x="48" y="123"/>
                  </a:lnTo>
                  <a:lnTo>
                    <a:pt x="0" y="6"/>
                  </a:lnTo>
                  <a:lnTo>
                    <a:pt x="15" y="0"/>
                  </a:lnTo>
                  <a:lnTo>
                    <a:pt x="63" y="114"/>
                  </a:lnTo>
                  <a:lnTo>
                    <a:pt x="266" y="320"/>
                  </a:lnTo>
                  <a:lnTo>
                    <a:pt x="257" y="332"/>
                  </a:lnTo>
                  <a:close/>
                </a:path>
              </a:pathLst>
            </a:custGeom>
            <a:gradFill>
              <a:gsLst>
                <a:gs pos="0">
                  <a:schemeClr val="dk2"/>
                </a:gs>
                <a:gs pos="100000">
                  <a:srgbClr val="B3FFFF"/>
                </a:gs>
              </a:gsLst>
              <a:lin ang="5400000" scaled="0"/>
            </a:gradFill>
            <a:ln>
              <a:noFill/>
            </a:ln>
          </p:spPr>
        </p:sp>
        <p:sp>
          <p:nvSpPr>
            <p:cNvPr id="992" name="Google Shape;992;p18"/>
            <p:cNvSpPr/>
            <p:nvPr/>
          </p:nvSpPr>
          <p:spPr>
            <a:xfrm>
              <a:off x="1020762" y="488950"/>
              <a:ext cx="161925" cy="147638"/>
            </a:xfrm>
            <a:custGeom>
              <a:avLst/>
              <a:gdLst/>
              <a:ahLst/>
              <a:cxnLst/>
              <a:rect l="l" t="t" r="r" b="b"/>
              <a:pathLst>
                <a:path w="34" h="31" extrusionOk="0">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cxnSp>
          <p:nvCxnSpPr>
            <p:cNvPr id="993" name="Google Shape;993;p18"/>
            <p:cNvCxnSpPr/>
            <p:nvPr/>
          </p:nvCxnSpPr>
          <p:spPr>
            <a:xfrm>
              <a:off x="-4763" y="9525"/>
              <a:ext cx="0" cy="0"/>
            </a:xfrm>
            <a:prstGeom prst="straightConnector1">
              <a:avLst/>
            </a:prstGeom>
            <a:gradFill>
              <a:gsLst>
                <a:gs pos="0">
                  <a:schemeClr val="dk2"/>
                </a:gs>
                <a:gs pos="100000">
                  <a:srgbClr val="B3FFFF"/>
                </a:gs>
              </a:gsLst>
              <a:lin ang="5400000" scaled="0"/>
            </a:gradFill>
            <a:ln w="9525" cap="flat" cmpd="sng">
              <a:solidFill>
                <a:srgbClr val="FFFFFF"/>
              </a:solidFill>
              <a:prstDash val="solid"/>
              <a:miter lim="800000"/>
              <a:headEnd type="none" w="med" len="med"/>
              <a:tailEnd type="none" w="med" len="med"/>
            </a:ln>
          </p:spPr>
        </p:cxnSp>
        <p:sp>
          <p:nvSpPr>
            <p:cNvPr id="994" name="Google Shape;994;p18"/>
            <p:cNvSpPr/>
            <p:nvPr/>
          </p:nvSpPr>
          <p:spPr>
            <a:xfrm>
              <a:off x="9525" y="1801813"/>
              <a:ext cx="123825" cy="127000"/>
            </a:xfrm>
            <a:custGeom>
              <a:avLst/>
              <a:gdLst/>
              <a:ahLst/>
              <a:cxnLst/>
              <a:rect l="l" t="t" r="r" b="b"/>
              <a:pathLst>
                <a:path w="78" h="80" extrusionOk="0">
                  <a:moveTo>
                    <a:pt x="6" y="80"/>
                  </a:moveTo>
                  <a:lnTo>
                    <a:pt x="0" y="71"/>
                  </a:lnTo>
                  <a:lnTo>
                    <a:pt x="69" y="0"/>
                  </a:lnTo>
                  <a:lnTo>
                    <a:pt x="78" y="9"/>
                  </a:lnTo>
                  <a:lnTo>
                    <a:pt x="6" y="80"/>
                  </a:lnTo>
                  <a:close/>
                </a:path>
              </a:pathLst>
            </a:custGeom>
            <a:gradFill>
              <a:gsLst>
                <a:gs pos="0">
                  <a:schemeClr val="dk2"/>
                </a:gs>
                <a:gs pos="100000">
                  <a:srgbClr val="B3FFFF"/>
                </a:gs>
              </a:gsLst>
              <a:lin ang="5400000" scaled="0"/>
            </a:gradFill>
            <a:ln>
              <a:noFill/>
            </a:ln>
          </p:spPr>
        </p:sp>
        <p:sp>
          <p:nvSpPr>
            <p:cNvPr id="995" name="Google Shape;995;p18"/>
            <p:cNvSpPr/>
            <p:nvPr/>
          </p:nvSpPr>
          <p:spPr>
            <a:xfrm>
              <a:off x="-9525" y="3549650"/>
              <a:ext cx="147638" cy="481013"/>
            </a:xfrm>
            <a:custGeom>
              <a:avLst/>
              <a:gdLst/>
              <a:ahLst/>
              <a:cxnLst/>
              <a:rect l="l" t="t" r="r" b="b"/>
              <a:pathLst>
                <a:path w="93" h="303" extrusionOk="0">
                  <a:moveTo>
                    <a:pt x="93" y="303"/>
                  </a:moveTo>
                  <a:lnTo>
                    <a:pt x="78" y="303"/>
                  </a:lnTo>
                  <a:lnTo>
                    <a:pt x="78" y="78"/>
                  </a:lnTo>
                  <a:lnTo>
                    <a:pt x="0" y="12"/>
                  </a:lnTo>
                  <a:lnTo>
                    <a:pt x="12" y="0"/>
                  </a:lnTo>
                  <a:lnTo>
                    <a:pt x="93" y="69"/>
                  </a:lnTo>
                  <a:lnTo>
                    <a:pt x="93" y="303"/>
                  </a:lnTo>
                  <a:close/>
                </a:path>
              </a:pathLst>
            </a:custGeom>
            <a:gradFill>
              <a:gsLst>
                <a:gs pos="0">
                  <a:schemeClr val="dk2"/>
                </a:gs>
                <a:gs pos="100000">
                  <a:srgbClr val="B3FFFF"/>
                </a:gs>
              </a:gsLst>
              <a:lin ang="5400000" scaled="0"/>
            </a:gradFill>
            <a:ln>
              <a:noFill/>
            </a:ln>
          </p:spPr>
        </p:sp>
        <p:sp>
          <p:nvSpPr>
            <p:cNvPr id="996" name="Google Shape;996;p18"/>
            <p:cNvSpPr/>
            <p:nvPr/>
          </p:nvSpPr>
          <p:spPr>
            <a:xfrm>
              <a:off x="128587" y="1382713"/>
              <a:ext cx="142875" cy="476250"/>
            </a:xfrm>
            <a:custGeom>
              <a:avLst/>
              <a:gdLst/>
              <a:ahLst/>
              <a:cxnLst/>
              <a:rect l="l" t="t" r="r" b="b"/>
              <a:pathLst>
                <a:path w="90" h="300" extrusionOk="0">
                  <a:moveTo>
                    <a:pt x="90" y="300"/>
                  </a:moveTo>
                  <a:lnTo>
                    <a:pt x="78" y="300"/>
                  </a:lnTo>
                  <a:lnTo>
                    <a:pt x="78" y="84"/>
                  </a:lnTo>
                  <a:lnTo>
                    <a:pt x="0" y="9"/>
                  </a:lnTo>
                  <a:lnTo>
                    <a:pt x="9" y="0"/>
                  </a:lnTo>
                  <a:lnTo>
                    <a:pt x="90" y="81"/>
                  </a:lnTo>
                  <a:lnTo>
                    <a:pt x="90" y="300"/>
                  </a:lnTo>
                  <a:close/>
                </a:path>
              </a:pathLst>
            </a:custGeom>
            <a:gradFill>
              <a:gsLst>
                <a:gs pos="0">
                  <a:schemeClr val="dk2"/>
                </a:gs>
                <a:gs pos="100000">
                  <a:srgbClr val="B3FFFF"/>
                </a:gs>
              </a:gsLst>
              <a:lin ang="5400000" scaled="0"/>
            </a:gradFill>
            <a:ln>
              <a:noFill/>
            </a:ln>
          </p:spPr>
        </p:sp>
        <p:sp>
          <p:nvSpPr>
            <p:cNvPr id="997" name="Google Shape;997;p18"/>
            <p:cNvSpPr/>
            <p:nvPr/>
          </p:nvSpPr>
          <p:spPr>
            <a:xfrm>
              <a:off x="204787" y="1849438"/>
              <a:ext cx="114300" cy="107950"/>
            </a:xfrm>
            <a:custGeom>
              <a:avLst/>
              <a:gdLst/>
              <a:ahLst/>
              <a:cxnLst/>
              <a:rect l="l" t="t" r="r" b="b"/>
              <a:pathLst>
                <a:path w="24" h="23" extrusionOk="0">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98" name="Google Shape;998;p18"/>
            <p:cNvSpPr/>
            <p:nvPr/>
          </p:nvSpPr>
          <p:spPr>
            <a:xfrm>
              <a:off x="133350" y="4662488"/>
              <a:ext cx="23813" cy="2181225"/>
            </a:xfrm>
            <a:prstGeom prst="rect">
              <a:avLst/>
            </a:pr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999" name="Google Shape;999;p18"/>
            <p:cNvSpPr/>
            <p:nvPr/>
          </p:nvSpPr>
          <p:spPr>
            <a:xfrm>
              <a:off x="223837" y="5041900"/>
              <a:ext cx="369888" cy="1801813"/>
            </a:xfrm>
            <a:custGeom>
              <a:avLst/>
              <a:gdLst/>
              <a:ahLst/>
              <a:cxnLst/>
              <a:rect l="l" t="t" r="r" b="b"/>
              <a:pathLst>
                <a:path w="233" h="1135" extrusionOk="0">
                  <a:moveTo>
                    <a:pt x="15" y="1135"/>
                  </a:moveTo>
                  <a:lnTo>
                    <a:pt x="0" y="1135"/>
                  </a:lnTo>
                  <a:lnTo>
                    <a:pt x="0" y="515"/>
                  </a:lnTo>
                  <a:lnTo>
                    <a:pt x="0" y="512"/>
                  </a:lnTo>
                  <a:lnTo>
                    <a:pt x="218" y="0"/>
                  </a:lnTo>
                  <a:lnTo>
                    <a:pt x="233" y="6"/>
                  </a:lnTo>
                  <a:lnTo>
                    <a:pt x="15" y="518"/>
                  </a:lnTo>
                  <a:lnTo>
                    <a:pt x="15" y="1135"/>
                  </a:lnTo>
                  <a:close/>
                </a:path>
              </a:pathLst>
            </a:custGeom>
            <a:gradFill>
              <a:gsLst>
                <a:gs pos="0">
                  <a:schemeClr val="dk2"/>
                </a:gs>
                <a:gs pos="100000">
                  <a:srgbClr val="B3FFFF"/>
                </a:gs>
              </a:gsLst>
              <a:lin ang="5400000" scaled="0"/>
            </a:gradFill>
            <a:ln>
              <a:noFill/>
            </a:ln>
          </p:spPr>
        </p:sp>
        <p:sp>
          <p:nvSpPr>
            <p:cNvPr id="1000" name="Google Shape;1000;p18"/>
            <p:cNvSpPr/>
            <p:nvPr/>
          </p:nvSpPr>
          <p:spPr>
            <a:xfrm>
              <a:off x="52387" y="44815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1001" name="Google Shape;1001;p18"/>
            <p:cNvSpPr/>
            <p:nvPr/>
          </p:nvSpPr>
          <p:spPr>
            <a:xfrm>
              <a:off x="-14288" y="5627688"/>
              <a:ext cx="85725" cy="1216025"/>
            </a:xfrm>
            <a:custGeom>
              <a:avLst/>
              <a:gdLst/>
              <a:ahLst/>
              <a:cxnLst/>
              <a:rect l="l" t="t" r="r" b="b"/>
              <a:pathLst>
                <a:path w="54" h="766" extrusionOk="0">
                  <a:moveTo>
                    <a:pt x="54" y="766"/>
                  </a:moveTo>
                  <a:lnTo>
                    <a:pt x="36" y="766"/>
                  </a:lnTo>
                  <a:lnTo>
                    <a:pt x="36" y="149"/>
                  </a:lnTo>
                  <a:lnTo>
                    <a:pt x="0" y="3"/>
                  </a:lnTo>
                  <a:lnTo>
                    <a:pt x="18" y="0"/>
                  </a:lnTo>
                  <a:lnTo>
                    <a:pt x="54" y="146"/>
                  </a:lnTo>
                  <a:lnTo>
                    <a:pt x="54" y="766"/>
                  </a:lnTo>
                  <a:close/>
                </a:path>
              </a:pathLst>
            </a:custGeom>
            <a:gradFill>
              <a:gsLst>
                <a:gs pos="0">
                  <a:schemeClr val="dk2"/>
                </a:gs>
                <a:gs pos="100000">
                  <a:srgbClr val="B3FFFF"/>
                </a:gs>
              </a:gsLst>
              <a:lin ang="5400000" scaled="0"/>
            </a:gradFill>
            <a:ln>
              <a:noFill/>
            </a:ln>
          </p:spPr>
        </p:sp>
        <p:sp>
          <p:nvSpPr>
            <p:cNvPr id="1002" name="Google Shape;1002;p18"/>
            <p:cNvSpPr/>
            <p:nvPr/>
          </p:nvSpPr>
          <p:spPr>
            <a:xfrm>
              <a:off x="527050" y="4867275"/>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1003" name="Google Shape;1003;p18"/>
            <p:cNvSpPr/>
            <p:nvPr/>
          </p:nvSpPr>
          <p:spPr>
            <a:xfrm>
              <a:off x="309562" y="5422900"/>
              <a:ext cx="374650" cy="1425575"/>
            </a:xfrm>
            <a:custGeom>
              <a:avLst/>
              <a:gdLst/>
              <a:ahLst/>
              <a:cxnLst/>
              <a:rect l="l" t="t" r="r" b="b"/>
              <a:pathLst>
                <a:path w="236" h="898" extrusionOk="0">
                  <a:moveTo>
                    <a:pt x="18" y="898"/>
                  </a:moveTo>
                  <a:lnTo>
                    <a:pt x="0" y="898"/>
                  </a:lnTo>
                  <a:lnTo>
                    <a:pt x="0" y="515"/>
                  </a:lnTo>
                  <a:lnTo>
                    <a:pt x="3" y="512"/>
                  </a:lnTo>
                  <a:lnTo>
                    <a:pt x="221" y="0"/>
                  </a:lnTo>
                  <a:lnTo>
                    <a:pt x="236" y="6"/>
                  </a:lnTo>
                  <a:lnTo>
                    <a:pt x="18" y="518"/>
                  </a:lnTo>
                  <a:lnTo>
                    <a:pt x="18" y="898"/>
                  </a:lnTo>
                  <a:close/>
                </a:path>
              </a:pathLst>
            </a:custGeom>
            <a:gradFill>
              <a:gsLst>
                <a:gs pos="0">
                  <a:schemeClr val="dk2"/>
                </a:gs>
                <a:gs pos="100000">
                  <a:srgbClr val="B3FFFF"/>
                </a:gs>
              </a:gsLst>
              <a:lin ang="5400000" scaled="0"/>
            </a:gradFill>
            <a:ln>
              <a:noFill/>
            </a:ln>
          </p:spPr>
        </p:sp>
        <p:sp>
          <p:nvSpPr>
            <p:cNvPr id="1004" name="Google Shape;1004;p18"/>
            <p:cNvSpPr/>
            <p:nvPr/>
          </p:nvSpPr>
          <p:spPr>
            <a:xfrm>
              <a:off x="569912" y="5945188"/>
              <a:ext cx="152400" cy="912813"/>
            </a:xfrm>
            <a:custGeom>
              <a:avLst/>
              <a:gdLst/>
              <a:ahLst/>
              <a:cxnLst/>
              <a:rect l="l" t="t" r="r" b="b"/>
              <a:pathLst>
                <a:path w="96" h="575" extrusionOk="0">
                  <a:moveTo>
                    <a:pt x="15" y="575"/>
                  </a:moveTo>
                  <a:lnTo>
                    <a:pt x="0" y="569"/>
                  </a:lnTo>
                  <a:lnTo>
                    <a:pt x="81" y="383"/>
                  </a:lnTo>
                  <a:lnTo>
                    <a:pt x="81" y="0"/>
                  </a:lnTo>
                  <a:lnTo>
                    <a:pt x="96" y="0"/>
                  </a:lnTo>
                  <a:lnTo>
                    <a:pt x="96" y="386"/>
                  </a:lnTo>
                  <a:lnTo>
                    <a:pt x="15" y="575"/>
                  </a:lnTo>
                  <a:close/>
                </a:path>
              </a:pathLst>
            </a:custGeom>
            <a:gradFill>
              <a:gsLst>
                <a:gs pos="0">
                  <a:schemeClr val="dk2"/>
                </a:gs>
                <a:gs pos="100000">
                  <a:srgbClr val="B3FFFF"/>
                </a:gs>
              </a:gsLst>
              <a:lin ang="5400000" scaled="0"/>
            </a:gradFill>
            <a:ln>
              <a:noFill/>
            </a:ln>
          </p:spPr>
        </p:sp>
        <p:sp>
          <p:nvSpPr>
            <p:cNvPr id="1005" name="Google Shape;1005;p18"/>
            <p:cNvSpPr/>
            <p:nvPr/>
          </p:nvSpPr>
          <p:spPr>
            <a:xfrm>
              <a:off x="612775" y="5246688"/>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1006" name="Google Shape;1006;p18"/>
            <p:cNvSpPr/>
            <p:nvPr/>
          </p:nvSpPr>
          <p:spPr>
            <a:xfrm>
              <a:off x="612775" y="57642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sp>
          <p:nvSpPr>
            <p:cNvPr id="1007" name="Google Shape;1007;p18"/>
            <p:cNvSpPr/>
            <p:nvPr/>
          </p:nvSpPr>
          <p:spPr>
            <a:xfrm>
              <a:off x="669925" y="6330950"/>
              <a:ext cx="417513" cy="517525"/>
            </a:xfrm>
            <a:custGeom>
              <a:avLst/>
              <a:gdLst/>
              <a:ahLst/>
              <a:cxnLst/>
              <a:rect l="l" t="t" r="r" b="b"/>
              <a:pathLst>
                <a:path w="263" h="326" extrusionOk="0">
                  <a:moveTo>
                    <a:pt x="15" y="326"/>
                  </a:moveTo>
                  <a:lnTo>
                    <a:pt x="0" y="320"/>
                  </a:lnTo>
                  <a:lnTo>
                    <a:pt x="45" y="206"/>
                  </a:lnTo>
                  <a:lnTo>
                    <a:pt x="48" y="206"/>
                  </a:lnTo>
                  <a:lnTo>
                    <a:pt x="254" y="0"/>
                  </a:lnTo>
                  <a:lnTo>
                    <a:pt x="263" y="12"/>
                  </a:lnTo>
                  <a:lnTo>
                    <a:pt x="60" y="215"/>
                  </a:lnTo>
                  <a:lnTo>
                    <a:pt x="15" y="326"/>
                  </a:lnTo>
                  <a:close/>
                </a:path>
              </a:pathLst>
            </a:custGeom>
            <a:gradFill>
              <a:gsLst>
                <a:gs pos="0">
                  <a:schemeClr val="dk2"/>
                </a:gs>
                <a:gs pos="100000">
                  <a:srgbClr val="B3FFFF"/>
                </a:gs>
              </a:gsLst>
              <a:lin ang="5400000" scaled="0"/>
            </a:gradFill>
            <a:ln>
              <a:noFill/>
            </a:ln>
          </p:spPr>
        </p:sp>
        <p:sp>
          <p:nvSpPr>
            <p:cNvPr id="1008" name="Google Shape;1008;p18"/>
            <p:cNvSpPr/>
            <p:nvPr/>
          </p:nvSpPr>
          <p:spPr>
            <a:xfrm>
              <a:off x="1049337" y="6221413"/>
              <a:ext cx="157163" cy="147638"/>
            </a:xfrm>
            <a:custGeom>
              <a:avLst/>
              <a:gdLst/>
              <a:ahLst/>
              <a:cxnLst/>
              <a:rect l="l" t="t" r="r" b="b"/>
              <a:pathLst>
                <a:path w="33" h="31" extrusionOk="0">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adFill>
              <a:gsLst>
                <a:gs pos="0">
                  <a:schemeClr val="dk2"/>
                </a:gs>
                <a:gs pos="100000">
                  <a:srgbClr val="B3FFFF"/>
                </a:gs>
              </a:gsLst>
              <a:lin ang="5400000" scaled="0"/>
            </a:gradFill>
            <a:ln>
              <a:noFill/>
            </a:ln>
          </p:spPr>
          <p:txBody>
            <a:bodyPr spcFirstLastPara="1" wrap="square" lIns="121900" tIns="121900" rIns="121900" bIns="121900" anchor="ctr" anchorCtr="0">
              <a:noAutofit/>
            </a:bodyPr>
            <a:lstStyle/>
            <a:p>
              <a:endParaRPr sz="2400"/>
            </a:p>
          </p:txBody>
        </p:sp>
      </p:grpSp>
      <p:pic>
        <p:nvPicPr>
          <p:cNvPr id="1009" name="Google Shape;1009;p18"/>
          <p:cNvPicPr preferRelativeResize="0"/>
          <p:nvPr/>
        </p:nvPicPr>
        <p:blipFill rotWithShape="1">
          <a:blip r:embed="rId3">
            <a:alphaModFix/>
          </a:blip>
          <a:srcRect/>
          <a:stretch/>
        </p:blipFill>
        <p:spPr>
          <a:xfrm>
            <a:off x="1190" y="-1"/>
            <a:ext cx="4061525" cy="6858000"/>
          </a:xfrm>
          <a:prstGeom prst="rect">
            <a:avLst/>
          </a:prstGeom>
          <a:noFill/>
          <a:ln>
            <a:noFill/>
          </a:ln>
        </p:spPr>
      </p:pic>
      <p:sp>
        <p:nvSpPr>
          <p:cNvPr id="1010" name="Google Shape;1010;p18"/>
          <p:cNvSpPr/>
          <p:nvPr/>
        </p:nvSpPr>
        <p:spPr>
          <a:xfrm>
            <a:off x="1" y="1852"/>
            <a:ext cx="4055620" cy="6858000"/>
          </a:xfrm>
          <a:prstGeom prst="rect">
            <a:avLst/>
          </a:prstGeom>
          <a:blipFill rotWithShape="1">
            <a:blip r:embed="rId4">
              <a:alphaModFix/>
            </a:blip>
            <a:stretch>
              <a:fillRect/>
            </a:stretch>
          </a:blipFill>
          <a:ln>
            <a:noFill/>
          </a:ln>
          <a:effectLst>
            <a:outerShdw blurRad="76200" dist="38100" algn="l" rotWithShape="0">
              <a:srgbClr val="000000">
                <a:alpha val="36862"/>
              </a:srgbClr>
            </a:outerShdw>
          </a:effectLst>
        </p:spPr>
        <p:txBody>
          <a:bodyPr spcFirstLastPara="1" wrap="square" lIns="121900" tIns="60933" rIns="121900" bIns="60933" anchor="ctr" anchorCtr="0">
            <a:noAutofit/>
          </a:bodyPr>
          <a:lstStyle/>
          <a:p>
            <a:pPr algn="ctr"/>
            <a:endParaRPr sz="2400">
              <a:solidFill>
                <a:schemeClr val="lt1"/>
              </a:solidFill>
              <a:latin typeface="Twentieth Century"/>
              <a:ea typeface="Twentieth Century"/>
              <a:cs typeface="Twentieth Century"/>
              <a:sym typeface="Twentieth Century"/>
            </a:endParaRPr>
          </a:p>
        </p:txBody>
      </p:sp>
      <p:grpSp>
        <p:nvGrpSpPr>
          <p:cNvPr id="1011" name="Google Shape;1011;p18"/>
          <p:cNvGrpSpPr/>
          <p:nvPr/>
        </p:nvGrpSpPr>
        <p:grpSpPr>
          <a:xfrm>
            <a:off x="1190" y="-9997"/>
            <a:ext cx="1220805" cy="6857999"/>
            <a:chOff x="-14288" y="0"/>
            <a:chExt cx="1220788" cy="6858001"/>
          </a:xfrm>
        </p:grpSpPr>
        <p:sp>
          <p:nvSpPr>
            <p:cNvPr id="1012" name="Google Shape;1012;p18"/>
            <p:cNvSpPr/>
            <p:nvPr/>
          </p:nvSpPr>
          <p:spPr>
            <a:xfrm>
              <a:off x="114300" y="4763"/>
              <a:ext cx="23813" cy="2181225"/>
            </a:xfrm>
            <a:prstGeom prst="rect">
              <a:avLst/>
            </a:pr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13" name="Google Shape;1013;p18"/>
            <p:cNvSpPr/>
            <p:nvPr/>
          </p:nvSpPr>
          <p:spPr>
            <a:xfrm>
              <a:off x="33337" y="217646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14" name="Google Shape;1014;p18"/>
            <p:cNvSpPr/>
            <p:nvPr/>
          </p:nvSpPr>
          <p:spPr>
            <a:xfrm>
              <a:off x="28575" y="4021138"/>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15" name="Google Shape;1015;p18"/>
            <p:cNvSpPr/>
            <p:nvPr/>
          </p:nvSpPr>
          <p:spPr>
            <a:xfrm>
              <a:off x="200025" y="4763"/>
              <a:ext cx="369888" cy="1811338"/>
            </a:xfrm>
            <a:custGeom>
              <a:avLst/>
              <a:gdLst/>
              <a:ahLst/>
              <a:cxnLst/>
              <a:rect l="l" t="t" r="r" b="b"/>
              <a:pathLst>
                <a:path w="233" h="1141" extrusionOk="0">
                  <a:moveTo>
                    <a:pt x="218" y="1141"/>
                  </a:moveTo>
                  <a:lnTo>
                    <a:pt x="0" y="626"/>
                  </a:lnTo>
                  <a:lnTo>
                    <a:pt x="0" y="0"/>
                  </a:lnTo>
                  <a:lnTo>
                    <a:pt x="15" y="0"/>
                  </a:lnTo>
                  <a:lnTo>
                    <a:pt x="15" y="623"/>
                  </a:lnTo>
                  <a:lnTo>
                    <a:pt x="233" y="1135"/>
                  </a:lnTo>
                  <a:lnTo>
                    <a:pt x="218" y="1141"/>
                  </a:lnTo>
                  <a:close/>
                </a:path>
              </a:pathLst>
            </a:custGeom>
            <a:gradFill>
              <a:gsLst>
                <a:gs pos="0">
                  <a:schemeClr val="lt2"/>
                </a:gs>
                <a:gs pos="100000">
                  <a:srgbClr val="3B95DE"/>
                </a:gs>
              </a:gsLst>
              <a:lin ang="5400000" scaled="0"/>
            </a:gradFill>
            <a:ln>
              <a:noFill/>
            </a:ln>
          </p:spPr>
        </p:sp>
        <p:sp>
          <p:nvSpPr>
            <p:cNvPr id="1016" name="Google Shape;1016;p18"/>
            <p:cNvSpPr/>
            <p:nvPr/>
          </p:nvSpPr>
          <p:spPr>
            <a:xfrm>
              <a:off x="503237" y="1801813"/>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17" name="Google Shape;1017;p18"/>
            <p:cNvSpPr/>
            <p:nvPr/>
          </p:nvSpPr>
          <p:spPr>
            <a:xfrm>
              <a:off x="285750" y="4763"/>
              <a:ext cx="369888" cy="1430338"/>
            </a:xfrm>
            <a:custGeom>
              <a:avLst/>
              <a:gdLst/>
              <a:ahLst/>
              <a:cxnLst/>
              <a:rect l="l" t="t" r="r" b="b"/>
              <a:pathLst>
                <a:path w="233" h="901" extrusionOk="0">
                  <a:moveTo>
                    <a:pt x="221" y="901"/>
                  </a:moveTo>
                  <a:lnTo>
                    <a:pt x="0" y="383"/>
                  </a:lnTo>
                  <a:lnTo>
                    <a:pt x="0" y="0"/>
                  </a:lnTo>
                  <a:lnTo>
                    <a:pt x="18" y="0"/>
                  </a:lnTo>
                  <a:lnTo>
                    <a:pt x="18" y="380"/>
                  </a:lnTo>
                  <a:lnTo>
                    <a:pt x="233" y="895"/>
                  </a:lnTo>
                  <a:lnTo>
                    <a:pt x="221" y="901"/>
                  </a:lnTo>
                  <a:close/>
                </a:path>
              </a:pathLst>
            </a:custGeom>
            <a:gradFill>
              <a:gsLst>
                <a:gs pos="0">
                  <a:schemeClr val="lt2"/>
                </a:gs>
                <a:gs pos="100000">
                  <a:srgbClr val="3B95DE"/>
                </a:gs>
              </a:gsLst>
              <a:lin ang="5400000" scaled="0"/>
            </a:gradFill>
            <a:ln>
              <a:noFill/>
            </a:ln>
          </p:spPr>
        </p:sp>
        <p:sp>
          <p:nvSpPr>
            <p:cNvPr id="1018" name="Google Shape;1018;p18"/>
            <p:cNvSpPr/>
            <p:nvPr/>
          </p:nvSpPr>
          <p:spPr>
            <a:xfrm>
              <a:off x="546100" y="0"/>
              <a:ext cx="152400" cy="912813"/>
            </a:xfrm>
            <a:custGeom>
              <a:avLst/>
              <a:gdLst/>
              <a:ahLst/>
              <a:cxnLst/>
              <a:rect l="l" t="t" r="r" b="b"/>
              <a:pathLst>
                <a:path w="96" h="575" extrusionOk="0">
                  <a:moveTo>
                    <a:pt x="96" y="575"/>
                  </a:moveTo>
                  <a:lnTo>
                    <a:pt x="78" y="575"/>
                  </a:lnTo>
                  <a:lnTo>
                    <a:pt x="78" y="192"/>
                  </a:lnTo>
                  <a:lnTo>
                    <a:pt x="0" y="6"/>
                  </a:lnTo>
                  <a:lnTo>
                    <a:pt x="15" y="0"/>
                  </a:lnTo>
                  <a:lnTo>
                    <a:pt x="96" y="189"/>
                  </a:lnTo>
                  <a:lnTo>
                    <a:pt x="96" y="575"/>
                  </a:lnTo>
                  <a:close/>
                </a:path>
              </a:pathLst>
            </a:custGeom>
            <a:gradFill>
              <a:gsLst>
                <a:gs pos="0">
                  <a:schemeClr val="lt2"/>
                </a:gs>
                <a:gs pos="100000">
                  <a:srgbClr val="3B95DE"/>
                </a:gs>
              </a:gsLst>
              <a:lin ang="5400000" scaled="0"/>
            </a:gradFill>
            <a:ln>
              <a:noFill/>
            </a:ln>
          </p:spPr>
        </p:sp>
        <p:sp>
          <p:nvSpPr>
            <p:cNvPr id="1019" name="Google Shape;1019;p18"/>
            <p:cNvSpPr/>
            <p:nvPr/>
          </p:nvSpPr>
          <p:spPr>
            <a:xfrm>
              <a:off x="588962" y="14208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20" name="Google Shape;1020;p18"/>
            <p:cNvSpPr/>
            <p:nvPr/>
          </p:nvSpPr>
          <p:spPr>
            <a:xfrm>
              <a:off x="588962" y="903288"/>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21" name="Google Shape;1021;p18"/>
            <p:cNvSpPr/>
            <p:nvPr/>
          </p:nvSpPr>
          <p:spPr>
            <a:xfrm>
              <a:off x="641350" y="0"/>
              <a:ext cx="422275" cy="527050"/>
            </a:xfrm>
            <a:custGeom>
              <a:avLst/>
              <a:gdLst/>
              <a:ahLst/>
              <a:cxnLst/>
              <a:rect l="l" t="t" r="r" b="b"/>
              <a:pathLst>
                <a:path w="266" h="332" extrusionOk="0">
                  <a:moveTo>
                    <a:pt x="257" y="332"/>
                  </a:moveTo>
                  <a:lnTo>
                    <a:pt x="48" y="123"/>
                  </a:lnTo>
                  <a:lnTo>
                    <a:pt x="0" y="6"/>
                  </a:lnTo>
                  <a:lnTo>
                    <a:pt x="15" y="0"/>
                  </a:lnTo>
                  <a:lnTo>
                    <a:pt x="63" y="114"/>
                  </a:lnTo>
                  <a:lnTo>
                    <a:pt x="266" y="320"/>
                  </a:lnTo>
                  <a:lnTo>
                    <a:pt x="257" y="332"/>
                  </a:lnTo>
                  <a:close/>
                </a:path>
              </a:pathLst>
            </a:custGeom>
            <a:gradFill>
              <a:gsLst>
                <a:gs pos="0">
                  <a:schemeClr val="lt2"/>
                </a:gs>
                <a:gs pos="100000">
                  <a:srgbClr val="3B95DE"/>
                </a:gs>
              </a:gsLst>
              <a:lin ang="5400000" scaled="0"/>
            </a:gradFill>
            <a:ln>
              <a:noFill/>
            </a:ln>
          </p:spPr>
        </p:sp>
        <p:sp>
          <p:nvSpPr>
            <p:cNvPr id="1022" name="Google Shape;1022;p18"/>
            <p:cNvSpPr/>
            <p:nvPr/>
          </p:nvSpPr>
          <p:spPr>
            <a:xfrm>
              <a:off x="1020762" y="488950"/>
              <a:ext cx="161925" cy="147638"/>
            </a:xfrm>
            <a:custGeom>
              <a:avLst/>
              <a:gdLst/>
              <a:ahLst/>
              <a:cxnLst/>
              <a:rect l="l" t="t" r="r" b="b"/>
              <a:pathLst>
                <a:path w="34" h="31" extrusionOk="0">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cxnSp>
          <p:nvCxnSpPr>
            <p:cNvPr id="1023" name="Google Shape;1023;p18"/>
            <p:cNvCxnSpPr/>
            <p:nvPr/>
          </p:nvCxnSpPr>
          <p:spPr>
            <a:xfrm>
              <a:off x="-4763" y="9525"/>
              <a:ext cx="0" cy="0"/>
            </a:xfrm>
            <a:prstGeom prst="straightConnector1">
              <a:avLst/>
            </a:prstGeom>
            <a:gradFill>
              <a:gsLst>
                <a:gs pos="0">
                  <a:schemeClr val="lt2"/>
                </a:gs>
                <a:gs pos="100000">
                  <a:srgbClr val="3B95DE"/>
                </a:gs>
              </a:gsLst>
              <a:lin ang="5400000" scaled="0"/>
            </a:gradFill>
            <a:ln w="9525" cap="flat" cmpd="sng">
              <a:solidFill>
                <a:srgbClr val="FFFFFF"/>
              </a:solidFill>
              <a:prstDash val="solid"/>
              <a:miter lim="800000"/>
              <a:headEnd type="none" w="med" len="med"/>
              <a:tailEnd type="none" w="med" len="med"/>
            </a:ln>
          </p:spPr>
        </p:cxnSp>
        <p:sp>
          <p:nvSpPr>
            <p:cNvPr id="1024" name="Google Shape;1024;p18"/>
            <p:cNvSpPr/>
            <p:nvPr/>
          </p:nvSpPr>
          <p:spPr>
            <a:xfrm>
              <a:off x="9525" y="1801813"/>
              <a:ext cx="123825" cy="127000"/>
            </a:xfrm>
            <a:custGeom>
              <a:avLst/>
              <a:gdLst/>
              <a:ahLst/>
              <a:cxnLst/>
              <a:rect l="l" t="t" r="r" b="b"/>
              <a:pathLst>
                <a:path w="78" h="80" extrusionOk="0">
                  <a:moveTo>
                    <a:pt x="6" y="80"/>
                  </a:moveTo>
                  <a:lnTo>
                    <a:pt x="0" y="71"/>
                  </a:lnTo>
                  <a:lnTo>
                    <a:pt x="69" y="0"/>
                  </a:lnTo>
                  <a:lnTo>
                    <a:pt x="78" y="9"/>
                  </a:lnTo>
                  <a:lnTo>
                    <a:pt x="6" y="80"/>
                  </a:lnTo>
                  <a:close/>
                </a:path>
              </a:pathLst>
            </a:custGeom>
            <a:gradFill>
              <a:gsLst>
                <a:gs pos="0">
                  <a:schemeClr val="lt2"/>
                </a:gs>
                <a:gs pos="100000">
                  <a:srgbClr val="3B95DE"/>
                </a:gs>
              </a:gsLst>
              <a:lin ang="5400000" scaled="0"/>
            </a:gradFill>
            <a:ln>
              <a:noFill/>
            </a:ln>
          </p:spPr>
        </p:sp>
        <p:sp>
          <p:nvSpPr>
            <p:cNvPr id="1025" name="Google Shape;1025;p18"/>
            <p:cNvSpPr/>
            <p:nvPr/>
          </p:nvSpPr>
          <p:spPr>
            <a:xfrm>
              <a:off x="-9525" y="3549650"/>
              <a:ext cx="147638" cy="481013"/>
            </a:xfrm>
            <a:custGeom>
              <a:avLst/>
              <a:gdLst/>
              <a:ahLst/>
              <a:cxnLst/>
              <a:rect l="l" t="t" r="r" b="b"/>
              <a:pathLst>
                <a:path w="93" h="303" extrusionOk="0">
                  <a:moveTo>
                    <a:pt x="93" y="303"/>
                  </a:moveTo>
                  <a:lnTo>
                    <a:pt x="78" y="303"/>
                  </a:lnTo>
                  <a:lnTo>
                    <a:pt x="78" y="78"/>
                  </a:lnTo>
                  <a:lnTo>
                    <a:pt x="0" y="12"/>
                  </a:lnTo>
                  <a:lnTo>
                    <a:pt x="12" y="0"/>
                  </a:lnTo>
                  <a:lnTo>
                    <a:pt x="93" y="69"/>
                  </a:lnTo>
                  <a:lnTo>
                    <a:pt x="93" y="303"/>
                  </a:lnTo>
                  <a:close/>
                </a:path>
              </a:pathLst>
            </a:custGeom>
            <a:gradFill>
              <a:gsLst>
                <a:gs pos="0">
                  <a:schemeClr val="lt2"/>
                </a:gs>
                <a:gs pos="100000">
                  <a:srgbClr val="3B95DE"/>
                </a:gs>
              </a:gsLst>
              <a:lin ang="5400000" scaled="0"/>
            </a:gradFill>
            <a:ln>
              <a:noFill/>
            </a:ln>
          </p:spPr>
        </p:sp>
        <p:sp>
          <p:nvSpPr>
            <p:cNvPr id="1026" name="Google Shape;1026;p18"/>
            <p:cNvSpPr/>
            <p:nvPr/>
          </p:nvSpPr>
          <p:spPr>
            <a:xfrm>
              <a:off x="128587" y="1382713"/>
              <a:ext cx="142875" cy="476250"/>
            </a:xfrm>
            <a:custGeom>
              <a:avLst/>
              <a:gdLst/>
              <a:ahLst/>
              <a:cxnLst/>
              <a:rect l="l" t="t" r="r" b="b"/>
              <a:pathLst>
                <a:path w="90" h="300" extrusionOk="0">
                  <a:moveTo>
                    <a:pt x="90" y="300"/>
                  </a:moveTo>
                  <a:lnTo>
                    <a:pt x="78" y="300"/>
                  </a:lnTo>
                  <a:lnTo>
                    <a:pt x="78" y="84"/>
                  </a:lnTo>
                  <a:lnTo>
                    <a:pt x="0" y="9"/>
                  </a:lnTo>
                  <a:lnTo>
                    <a:pt x="9" y="0"/>
                  </a:lnTo>
                  <a:lnTo>
                    <a:pt x="90" y="81"/>
                  </a:lnTo>
                  <a:lnTo>
                    <a:pt x="90" y="300"/>
                  </a:lnTo>
                  <a:close/>
                </a:path>
              </a:pathLst>
            </a:custGeom>
            <a:gradFill>
              <a:gsLst>
                <a:gs pos="0">
                  <a:schemeClr val="lt2"/>
                </a:gs>
                <a:gs pos="100000">
                  <a:srgbClr val="3B95DE"/>
                </a:gs>
              </a:gsLst>
              <a:lin ang="5400000" scaled="0"/>
            </a:gradFill>
            <a:ln>
              <a:noFill/>
            </a:ln>
          </p:spPr>
        </p:sp>
        <p:sp>
          <p:nvSpPr>
            <p:cNvPr id="1027" name="Google Shape;1027;p18"/>
            <p:cNvSpPr/>
            <p:nvPr/>
          </p:nvSpPr>
          <p:spPr>
            <a:xfrm>
              <a:off x="204787" y="1849438"/>
              <a:ext cx="114300" cy="107950"/>
            </a:xfrm>
            <a:custGeom>
              <a:avLst/>
              <a:gdLst/>
              <a:ahLst/>
              <a:cxnLst/>
              <a:rect l="l" t="t" r="r" b="b"/>
              <a:pathLst>
                <a:path w="24" h="23" extrusionOk="0">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28" name="Google Shape;1028;p18"/>
            <p:cNvSpPr/>
            <p:nvPr/>
          </p:nvSpPr>
          <p:spPr>
            <a:xfrm>
              <a:off x="133350" y="4662488"/>
              <a:ext cx="23813" cy="2181225"/>
            </a:xfrm>
            <a:prstGeom prst="rect">
              <a:avLst/>
            </a:pr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29" name="Google Shape;1029;p18"/>
            <p:cNvSpPr/>
            <p:nvPr/>
          </p:nvSpPr>
          <p:spPr>
            <a:xfrm>
              <a:off x="223837" y="5041900"/>
              <a:ext cx="369888" cy="1801813"/>
            </a:xfrm>
            <a:custGeom>
              <a:avLst/>
              <a:gdLst/>
              <a:ahLst/>
              <a:cxnLst/>
              <a:rect l="l" t="t" r="r" b="b"/>
              <a:pathLst>
                <a:path w="233" h="1135" extrusionOk="0">
                  <a:moveTo>
                    <a:pt x="15" y="1135"/>
                  </a:moveTo>
                  <a:lnTo>
                    <a:pt x="0" y="1135"/>
                  </a:lnTo>
                  <a:lnTo>
                    <a:pt x="0" y="515"/>
                  </a:lnTo>
                  <a:lnTo>
                    <a:pt x="0" y="512"/>
                  </a:lnTo>
                  <a:lnTo>
                    <a:pt x="218" y="0"/>
                  </a:lnTo>
                  <a:lnTo>
                    <a:pt x="233" y="6"/>
                  </a:lnTo>
                  <a:lnTo>
                    <a:pt x="15" y="518"/>
                  </a:lnTo>
                  <a:lnTo>
                    <a:pt x="15" y="1135"/>
                  </a:lnTo>
                  <a:close/>
                </a:path>
              </a:pathLst>
            </a:custGeom>
            <a:gradFill>
              <a:gsLst>
                <a:gs pos="0">
                  <a:schemeClr val="lt2"/>
                </a:gs>
                <a:gs pos="100000">
                  <a:srgbClr val="3B95DE"/>
                </a:gs>
              </a:gsLst>
              <a:lin ang="5400000" scaled="0"/>
            </a:gradFill>
            <a:ln>
              <a:noFill/>
            </a:ln>
          </p:spPr>
        </p:sp>
        <p:sp>
          <p:nvSpPr>
            <p:cNvPr id="1030" name="Google Shape;1030;p18"/>
            <p:cNvSpPr/>
            <p:nvPr/>
          </p:nvSpPr>
          <p:spPr>
            <a:xfrm>
              <a:off x="52387" y="44815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31" name="Google Shape;1031;p18"/>
            <p:cNvSpPr/>
            <p:nvPr/>
          </p:nvSpPr>
          <p:spPr>
            <a:xfrm>
              <a:off x="-14288" y="5627688"/>
              <a:ext cx="85725" cy="1216025"/>
            </a:xfrm>
            <a:custGeom>
              <a:avLst/>
              <a:gdLst/>
              <a:ahLst/>
              <a:cxnLst/>
              <a:rect l="l" t="t" r="r" b="b"/>
              <a:pathLst>
                <a:path w="54" h="766" extrusionOk="0">
                  <a:moveTo>
                    <a:pt x="54" y="766"/>
                  </a:moveTo>
                  <a:lnTo>
                    <a:pt x="36" y="766"/>
                  </a:lnTo>
                  <a:lnTo>
                    <a:pt x="36" y="149"/>
                  </a:lnTo>
                  <a:lnTo>
                    <a:pt x="0" y="3"/>
                  </a:lnTo>
                  <a:lnTo>
                    <a:pt x="18" y="0"/>
                  </a:lnTo>
                  <a:lnTo>
                    <a:pt x="54" y="146"/>
                  </a:lnTo>
                  <a:lnTo>
                    <a:pt x="54" y="766"/>
                  </a:lnTo>
                  <a:close/>
                </a:path>
              </a:pathLst>
            </a:custGeom>
            <a:gradFill>
              <a:gsLst>
                <a:gs pos="0">
                  <a:schemeClr val="lt2"/>
                </a:gs>
                <a:gs pos="100000">
                  <a:srgbClr val="3B95DE"/>
                </a:gs>
              </a:gsLst>
              <a:lin ang="5400000" scaled="0"/>
            </a:gradFill>
            <a:ln>
              <a:noFill/>
            </a:ln>
          </p:spPr>
        </p:sp>
        <p:sp>
          <p:nvSpPr>
            <p:cNvPr id="1032" name="Google Shape;1032;p18"/>
            <p:cNvSpPr/>
            <p:nvPr/>
          </p:nvSpPr>
          <p:spPr>
            <a:xfrm>
              <a:off x="527050" y="4867275"/>
              <a:ext cx="190500" cy="188913"/>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33" name="Google Shape;1033;p18"/>
            <p:cNvSpPr/>
            <p:nvPr/>
          </p:nvSpPr>
          <p:spPr>
            <a:xfrm>
              <a:off x="309562" y="5422900"/>
              <a:ext cx="374650" cy="1425575"/>
            </a:xfrm>
            <a:custGeom>
              <a:avLst/>
              <a:gdLst/>
              <a:ahLst/>
              <a:cxnLst/>
              <a:rect l="l" t="t" r="r" b="b"/>
              <a:pathLst>
                <a:path w="236" h="898" extrusionOk="0">
                  <a:moveTo>
                    <a:pt x="18" y="898"/>
                  </a:moveTo>
                  <a:lnTo>
                    <a:pt x="0" y="898"/>
                  </a:lnTo>
                  <a:lnTo>
                    <a:pt x="0" y="515"/>
                  </a:lnTo>
                  <a:lnTo>
                    <a:pt x="3" y="512"/>
                  </a:lnTo>
                  <a:lnTo>
                    <a:pt x="221" y="0"/>
                  </a:lnTo>
                  <a:lnTo>
                    <a:pt x="236" y="6"/>
                  </a:lnTo>
                  <a:lnTo>
                    <a:pt x="18" y="518"/>
                  </a:lnTo>
                  <a:lnTo>
                    <a:pt x="18" y="898"/>
                  </a:lnTo>
                  <a:close/>
                </a:path>
              </a:pathLst>
            </a:custGeom>
            <a:gradFill>
              <a:gsLst>
                <a:gs pos="0">
                  <a:schemeClr val="lt2"/>
                </a:gs>
                <a:gs pos="100000">
                  <a:srgbClr val="3B95DE"/>
                </a:gs>
              </a:gsLst>
              <a:lin ang="5400000" scaled="0"/>
            </a:gradFill>
            <a:ln>
              <a:noFill/>
            </a:ln>
          </p:spPr>
        </p:sp>
        <p:sp>
          <p:nvSpPr>
            <p:cNvPr id="1034" name="Google Shape;1034;p18"/>
            <p:cNvSpPr/>
            <p:nvPr/>
          </p:nvSpPr>
          <p:spPr>
            <a:xfrm>
              <a:off x="569912" y="5945188"/>
              <a:ext cx="152400" cy="912813"/>
            </a:xfrm>
            <a:custGeom>
              <a:avLst/>
              <a:gdLst/>
              <a:ahLst/>
              <a:cxnLst/>
              <a:rect l="l" t="t" r="r" b="b"/>
              <a:pathLst>
                <a:path w="96" h="575" extrusionOk="0">
                  <a:moveTo>
                    <a:pt x="15" y="575"/>
                  </a:moveTo>
                  <a:lnTo>
                    <a:pt x="0" y="569"/>
                  </a:lnTo>
                  <a:lnTo>
                    <a:pt x="81" y="383"/>
                  </a:lnTo>
                  <a:lnTo>
                    <a:pt x="81" y="0"/>
                  </a:lnTo>
                  <a:lnTo>
                    <a:pt x="96" y="0"/>
                  </a:lnTo>
                  <a:lnTo>
                    <a:pt x="96" y="386"/>
                  </a:lnTo>
                  <a:lnTo>
                    <a:pt x="15" y="575"/>
                  </a:lnTo>
                  <a:close/>
                </a:path>
              </a:pathLst>
            </a:custGeom>
            <a:gradFill>
              <a:gsLst>
                <a:gs pos="0">
                  <a:schemeClr val="lt2"/>
                </a:gs>
                <a:gs pos="100000">
                  <a:srgbClr val="3B95DE"/>
                </a:gs>
              </a:gsLst>
              <a:lin ang="5400000" scaled="0"/>
            </a:gradFill>
            <a:ln>
              <a:noFill/>
            </a:ln>
          </p:spPr>
        </p:sp>
        <p:sp>
          <p:nvSpPr>
            <p:cNvPr id="1035" name="Google Shape;1035;p18"/>
            <p:cNvSpPr/>
            <p:nvPr/>
          </p:nvSpPr>
          <p:spPr>
            <a:xfrm>
              <a:off x="612775" y="5246688"/>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36" name="Google Shape;1036;p18"/>
            <p:cNvSpPr/>
            <p:nvPr/>
          </p:nvSpPr>
          <p:spPr>
            <a:xfrm>
              <a:off x="612775" y="5764213"/>
              <a:ext cx="190500" cy="190500"/>
            </a:xfrm>
            <a:custGeom>
              <a:avLst/>
              <a:gdLst/>
              <a:ahLst/>
              <a:cxnLst/>
              <a:rect l="l" t="t" r="r" b="b"/>
              <a:pathLst>
                <a:path w="40" h="40" extrusionOk="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sp>
          <p:nvSpPr>
            <p:cNvPr id="1037" name="Google Shape;1037;p18"/>
            <p:cNvSpPr/>
            <p:nvPr/>
          </p:nvSpPr>
          <p:spPr>
            <a:xfrm>
              <a:off x="669925" y="6330950"/>
              <a:ext cx="417513" cy="517525"/>
            </a:xfrm>
            <a:custGeom>
              <a:avLst/>
              <a:gdLst/>
              <a:ahLst/>
              <a:cxnLst/>
              <a:rect l="l" t="t" r="r" b="b"/>
              <a:pathLst>
                <a:path w="263" h="326" extrusionOk="0">
                  <a:moveTo>
                    <a:pt x="15" y="326"/>
                  </a:moveTo>
                  <a:lnTo>
                    <a:pt x="0" y="320"/>
                  </a:lnTo>
                  <a:lnTo>
                    <a:pt x="45" y="206"/>
                  </a:lnTo>
                  <a:lnTo>
                    <a:pt x="48" y="206"/>
                  </a:lnTo>
                  <a:lnTo>
                    <a:pt x="254" y="0"/>
                  </a:lnTo>
                  <a:lnTo>
                    <a:pt x="263" y="12"/>
                  </a:lnTo>
                  <a:lnTo>
                    <a:pt x="60" y="215"/>
                  </a:lnTo>
                  <a:lnTo>
                    <a:pt x="15" y="326"/>
                  </a:lnTo>
                  <a:close/>
                </a:path>
              </a:pathLst>
            </a:custGeom>
            <a:gradFill>
              <a:gsLst>
                <a:gs pos="0">
                  <a:schemeClr val="lt2"/>
                </a:gs>
                <a:gs pos="100000">
                  <a:srgbClr val="3B95DE"/>
                </a:gs>
              </a:gsLst>
              <a:lin ang="5400000" scaled="0"/>
            </a:gradFill>
            <a:ln>
              <a:noFill/>
            </a:ln>
          </p:spPr>
        </p:sp>
        <p:sp>
          <p:nvSpPr>
            <p:cNvPr id="1038" name="Google Shape;1038;p18"/>
            <p:cNvSpPr/>
            <p:nvPr/>
          </p:nvSpPr>
          <p:spPr>
            <a:xfrm>
              <a:off x="1049337" y="6221413"/>
              <a:ext cx="157163" cy="147638"/>
            </a:xfrm>
            <a:custGeom>
              <a:avLst/>
              <a:gdLst/>
              <a:ahLst/>
              <a:cxnLst/>
              <a:rect l="l" t="t" r="r" b="b"/>
              <a:pathLst>
                <a:path w="33" h="31" extrusionOk="0">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adFill>
              <a:gsLst>
                <a:gs pos="0">
                  <a:schemeClr val="lt2"/>
                </a:gs>
                <a:gs pos="100000">
                  <a:srgbClr val="3B95DE"/>
                </a:gs>
              </a:gsLst>
              <a:lin ang="5400000" scaled="0"/>
            </a:gradFill>
            <a:ln>
              <a:noFill/>
            </a:ln>
          </p:spPr>
          <p:txBody>
            <a:bodyPr spcFirstLastPara="1" wrap="square" lIns="121900" tIns="121900" rIns="121900" bIns="121900" anchor="ctr" anchorCtr="0">
              <a:noAutofit/>
            </a:bodyPr>
            <a:lstStyle/>
            <a:p>
              <a:endParaRPr sz="2400"/>
            </a:p>
          </p:txBody>
        </p:sp>
      </p:grpSp>
      <p:pic>
        <p:nvPicPr>
          <p:cNvPr id="1039" name="Google Shape;1039;p18"/>
          <p:cNvPicPr preferRelativeResize="0"/>
          <p:nvPr/>
        </p:nvPicPr>
        <p:blipFill rotWithShape="1">
          <a:blip r:embed="rId3">
            <a:alphaModFix amt="30000"/>
          </a:blip>
          <a:srcRect/>
          <a:stretch/>
        </p:blipFill>
        <p:spPr>
          <a:xfrm>
            <a:off x="1190" y="-13237"/>
            <a:ext cx="4062719" cy="6858000"/>
          </a:xfrm>
          <a:prstGeom prst="rect">
            <a:avLst/>
          </a:prstGeom>
          <a:noFill/>
          <a:ln>
            <a:noFill/>
          </a:ln>
        </p:spPr>
      </p:pic>
      <p:sp>
        <p:nvSpPr>
          <p:cNvPr id="1040" name="Google Shape;1040;p18"/>
          <p:cNvSpPr txBox="1">
            <a:spLocks noGrp="1"/>
          </p:cNvSpPr>
          <p:nvPr>
            <p:ph type="title"/>
          </p:nvPr>
        </p:nvSpPr>
        <p:spPr>
          <a:xfrm>
            <a:off x="853330" y="1134681"/>
            <a:ext cx="2743311" cy="4255025"/>
          </a:xfrm>
          <a:prstGeom prst="rect">
            <a:avLst/>
          </a:prstGeom>
          <a:noFill/>
          <a:ln>
            <a:noFill/>
          </a:ln>
        </p:spPr>
        <p:txBody>
          <a:bodyPr spcFirstLastPara="1" vert="horz" wrap="square" lIns="121900" tIns="60933" rIns="121900" bIns="60933" rtlCol="0" anchor="ctr" anchorCtr="0">
            <a:normAutofit/>
          </a:bodyPr>
          <a:lstStyle/>
          <a:p>
            <a:pPr>
              <a:buClr>
                <a:srgbClr val="FFFFFF"/>
              </a:buClr>
              <a:buSzPts val="2800"/>
            </a:pPr>
            <a:r>
              <a:rPr lang="en-US" sz="3733">
                <a:solidFill>
                  <a:srgbClr val="FFFFFF"/>
                </a:solidFill>
              </a:rPr>
              <a:t>HOW TO IMPLEMENT?</a:t>
            </a:r>
            <a:endParaRPr/>
          </a:p>
        </p:txBody>
      </p:sp>
      <p:sp>
        <p:nvSpPr>
          <p:cNvPr id="1041" name="Google Shape;1041;p18"/>
          <p:cNvSpPr txBox="1">
            <a:spLocks noGrp="1"/>
          </p:cNvSpPr>
          <p:nvPr>
            <p:ph type="sldNum" idx="12"/>
          </p:nvPr>
        </p:nvSpPr>
        <p:spPr>
          <a:xfrm>
            <a:off x="10357217" y="5883274"/>
            <a:ext cx="690193" cy="365125"/>
          </a:xfrm>
          <a:prstGeom prst="rect">
            <a:avLst/>
          </a:prstGeom>
          <a:noFill/>
          <a:ln>
            <a:noFill/>
          </a:ln>
        </p:spPr>
        <p:txBody>
          <a:bodyPr spcFirstLastPara="1" wrap="square" lIns="121900" tIns="60933" rIns="121900" bIns="60933" anchor="ctr" anchorCtr="0">
            <a:normAutofit/>
          </a:bodyPr>
          <a:lstStyle/>
          <a:p>
            <a:pPr algn="r"/>
            <a:fld id="{00000000-1234-1234-1234-123412341234}" type="slidenum">
              <a:rPr lang="en-US" sz="1400">
                <a:solidFill>
                  <a:srgbClr val="262626"/>
                </a:solidFill>
                <a:latin typeface="Twentieth Century"/>
                <a:ea typeface="Twentieth Century"/>
                <a:cs typeface="Twentieth Century"/>
                <a:sym typeface="Twentieth Century"/>
              </a:rPr>
              <a:pPr algn="r"/>
              <a:t>17</a:t>
            </a:fld>
            <a:endParaRPr sz="1400">
              <a:solidFill>
                <a:srgbClr val="262626"/>
              </a:solidFill>
              <a:latin typeface="Twentieth Century"/>
              <a:ea typeface="Twentieth Century"/>
              <a:cs typeface="Twentieth Century"/>
              <a:sym typeface="Twentieth Century"/>
            </a:endParaRPr>
          </a:p>
        </p:txBody>
      </p:sp>
      <p:grpSp>
        <p:nvGrpSpPr>
          <p:cNvPr id="1042" name="Google Shape;1042;p18"/>
          <p:cNvGrpSpPr/>
          <p:nvPr/>
        </p:nvGrpSpPr>
        <p:grpSpPr>
          <a:xfrm>
            <a:off x="4321517" y="261972"/>
            <a:ext cx="7569251" cy="6364680"/>
            <a:chOff x="0" y="61516"/>
            <a:chExt cx="5676938" cy="4773510"/>
          </a:xfrm>
        </p:grpSpPr>
        <p:sp>
          <p:nvSpPr>
            <p:cNvPr id="1043" name="Google Shape;1043;p18"/>
            <p:cNvSpPr/>
            <p:nvPr/>
          </p:nvSpPr>
          <p:spPr>
            <a:xfrm>
              <a:off x="0" y="164836"/>
              <a:ext cx="5676938" cy="1300950"/>
            </a:xfrm>
            <a:prstGeom prst="rect">
              <a:avLst/>
            </a:prstGeom>
            <a:solidFill>
              <a:schemeClr val="lt1">
                <a:alpha val="89803"/>
              </a:schemeClr>
            </a:solidFill>
            <a:ln w="9525" cap="flat" cmpd="sng">
              <a:solidFill>
                <a:srgbClr val="F8A93A"/>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044" name="Google Shape;1044;p18"/>
            <p:cNvSpPr txBox="1"/>
            <p:nvPr/>
          </p:nvSpPr>
          <p:spPr>
            <a:xfrm>
              <a:off x="0" y="164836"/>
              <a:ext cx="5676938" cy="1300950"/>
            </a:xfrm>
            <a:prstGeom prst="rect">
              <a:avLst/>
            </a:prstGeom>
            <a:noFill/>
            <a:ln>
              <a:noFill/>
            </a:ln>
          </p:spPr>
          <p:txBody>
            <a:bodyPr spcFirstLastPara="1" wrap="square" lIns="587433" tIns="194367" rIns="587433" bIns="132733" anchor="t" anchorCtr="0">
              <a:noAutofit/>
            </a:bodyPr>
            <a:lstStyle/>
            <a:p>
              <a:pPr marL="152396" lvl="1" indent="-152396">
                <a:lnSpc>
                  <a:spcPct val="90000"/>
                </a:lnSpc>
                <a:buClr>
                  <a:schemeClr val="dk1"/>
                </a:buClr>
                <a:buSzPts val="1400"/>
                <a:buFont typeface="Twentieth Century"/>
                <a:buChar char="•"/>
              </a:pPr>
              <a:r>
                <a:rPr lang="en-US" sz="1867" dirty="0">
                  <a:solidFill>
                    <a:schemeClr val="dk1"/>
                  </a:solidFill>
                  <a:latin typeface="Twentieth Century"/>
                  <a:ea typeface="Twentieth Century"/>
                  <a:cs typeface="Twentieth Century"/>
                  <a:sym typeface="Twentieth Century"/>
                </a:rPr>
                <a:t>Use Teams/Skype as a base , start with develop a </a:t>
              </a:r>
              <a:r>
                <a:rPr lang="en-US" sz="1867" b="1" dirty="0">
                  <a:solidFill>
                    <a:schemeClr val="dk1"/>
                  </a:solidFill>
                  <a:latin typeface="Twentieth Century"/>
                  <a:ea typeface="Twentieth Century"/>
                  <a:cs typeface="Twentieth Century"/>
                  <a:sym typeface="Twentieth Century"/>
                </a:rPr>
                <a:t>accessibility plugin , firstly for neurocognitive differences  like autism </a:t>
              </a:r>
              <a:r>
                <a:rPr lang="en-US" sz="1867" dirty="0">
                  <a:solidFill>
                    <a:schemeClr val="dk1"/>
                  </a:solidFill>
                  <a:latin typeface="Twentieth Century"/>
                  <a:ea typeface="Twentieth Century"/>
                  <a:cs typeface="Twentieth Century"/>
                  <a:sym typeface="Twentieth Century"/>
                </a:rPr>
                <a:t>as baseline followed with some trails and further extended to other areas as well with additional plugins for the sensory needs of the special employee and making future more inclusive workplace.</a:t>
              </a:r>
              <a:br>
                <a:rPr lang="en-US" sz="1867" dirty="0">
                  <a:solidFill>
                    <a:schemeClr val="dk1"/>
                  </a:solidFill>
                  <a:latin typeface="Twentieth Century"/>
                  <a:ea typeface="Twentieth Century"/>
                  <a:cs typeface="Twentieth Century"/>
                  <a:sym typeface="Twentieth Century"/>
                </a:rPr>
              </a:br>
              <a:endParaRPr sz="1867" dirty="0">
                <a:solidFill>
                  <a:schemeClr val="dk1"/>
                </a:solidFill>
                <a:latin typeface="Twentieth Century"/>
                <a:ea typeface="Twentieth Century"/>
                <a:cs typeface="Twentieth Century"/>
                <a:sym typeface="Twentieth Century"/>
              </a:endParaRPr>
            </a:p>
          </p:txBody>
        </p:sp>
        <p:sp>
          <p:nvSpPr>
            <p:cNvPr id="1045" name="Google Shape;1045;p18"/>
            <p:cNvSpPr/>
            <p:nvPr/>
          </p:nvSpPr>
          <p:spPr>
            <a:xfrm>
              <a:off x="283846" y="61516"/>
              <a:ext cx="3973856" cy="206640"/>
            </a:xfrm>
            <a:prstGeom prst="roundRect">
              <a:avLst>
                <a:gd name="adj" fmla="val 16667"/>
              </a:avLst>
            </a:prstGeom>
            <a:gradFill>
              <a:gsLst>
                <a:gs pos="0">
                  <a:srgbClr val="FBB35A"/>
                </a:gs>
                <a:gs pos="100000">
                  <a:srgbClr val="EF9619"/>
                </a:gs>
              </a:gsLst>
              <a:lin ang="5400000" scaled="0"/>
            </a:gradFill>
            <a:ln>
              <a:noFill/>
            </a:ln>
          </p:spPr>
          <p:txBody>
            <a:bodyPr spcFirstLastPara="1" wrap="square" lIns="121900" tIns="121900" rIns="121900" bIns="121900" anchor="ctr" anchorCtr="0">
              <a:noAutofit/>
            </a:bodyPr>
            <a:lstStyle/>
            <a:p>
              <a:endParaRPr sz="2400"/>
            </a:p>
          </p:txBody>
        </p:sp>
        <p:sp>
          <p:nvSpPr>
            <p:cNvPr id="1046" name="Google Shape;1046;p18"/>
            <p:cNvSpPr txBox="1"/>
            <p:nvPr/>
          </p:nvSpPr>
          <p:spPr>
            <a:xfrm>
              <a:off x="293933" y="71603"/>
              <a:ext cx="3953682" cy="186466"/>
            </a:xfrm>
            <a:prstGeom prst="rect">
              <a:avLst/>
            </a:prstGeom>
            <a:noFill/>
            <a:ln>
              <a:noFill/>
            </a:ln>
          </p:spPr>
          <p:txBody>
            <a:bodyPr spcFirstLastPara="1" wrap="square" lIns="200267" tIns="0" rIns="200267" bIns="0" anchor="ctr" anchorCtr="0">
              <a:noAutofit/>
            </a:bodyPr>
            <a:lstStyle/>
            <a:p>
              <a:pPr>
                <a:lnSpc>
                  <a:spcPct val="90000"/>
                </a:lnSpc>
                <a:buClr>
                  <a:schemeClr val="lt1"/>
                </a:buClr>
                <a:buSzPts val="1600"/>
              </a:pPr>
              <a:r>
                <a:rPr lang="en-US" sz="2133" b="1">
                  <a:solidFill>
                    <a:schemeClr val="lt1"/>
                  </a:solidFill>
                  <a:latin typeface="Twentieth Century"/>
                  <a:ea typeface="Twentieth Century"/>
                  <a:cs typeface="Twentieth Century"/>
                  <a:sym typeface="Twentieth Century"/>
                </a:rPr>
                <a:t>Teams Plugin</a:t>
              </a:r>
              <a:endParaRPr sz="2400" dirty="0"/>
            </a:p>
          </p:txBody>
        </p:sp>
        <p:sp>
          <p:nvSpPr>
            <p:cNvPr id="1047" name="Google Shape;1047;p18"/>
            <p:cNvSpPr/>
            <p:nvPr/>
          </p:nvSpPr>
          <p:spPr>
            <a:xfrm>
              <a:off x="0" y="1606906"/>
              <a:ext cx="5676938" cy="1896300"/>
            </a:xfrm>
            <a:prstGeom prst="rect">
              <a:avLst/>
            </a:prstGeom>
            <a:solidFill>
              <a:schemeClr val="lt1">
                <a:alpha val="89803"/>
              </a:schemeClr>
            </a:solidFill>
            <a:ln w="9525" cap="flat" cmpd="sng">
              <a:solidFill>
                <a:srgbClr val="E67B3B"/>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048" name="Google Shape;1048;p18"/>
            <p:cNvSpPr txBox="1"/>
            <p:nvPr/>
          </p:nvSpPr>
          <p:spPr>
            <a:xfrm>
              <a:off x="0" y="1606906"/>
              <a:ext cx="5676938" cy="1896300"/>
            </a:xfrm>
            <a:prstGeom prst="rect">
              <a:avLst/>
            </a:prstGeom>
            <a:noFill/>
            <a:ln>
              <a:noFill/>
            </a:ln>
          </p:spPr>
          <p:txBody>
            <a:bodyPr spcFirstLastPara="1" wrap="square" lIns="587433" tIns="194367" rIns="587433" bIns="113767" anchor="t" anchorCtr="0">
              <a:noAutofit/>
            </a:bodyPr>
            <a:lstStyle/>
            <a:p>
              <a:pPr marL="152396" lvl="1" indent="-152396">
                <a:lnSpc>
                  <a:spcPct val="90000"/>
                </a:lnSpc>
                <a:buClr>
                  <a:schemeClr val="dk1"/>
                </a:buClr>
                <a:buSzPts val="1200"/>
                <a:buFont typeface="Noto Sans Symbols"/>
                <a:buChar char="⮚"/>
              </a:pPr>
              <a:r>
                <a:rPr lang="en-IN" sz="1867" b="1" dirty="0">
                  <a:solidFill>
                    <a:schemeClr val="dk1"/>
                  </a:solidFill>
                  <a:latin typeface="Twentieth Century"/>
                  <a:ea typeface="Twentieth Century"/>
                  <a:cs typeface="Twentieth Century"/>
                  <a:sym typeface="Twentieth Century"/>
                </a:rPr>
                <a:t>Symbol-based predictive Visual keyboard</a:t>
              </a:r>
              <a:r>
                <a:rPr lang="en-IN" sz="1867" dirty="0">
                  <a:solidFill>
                    <a:schemeClr val="dk1"/>
                  </a:solidFill>
                  <a:latin typeface="Twentieth Century"/>
                  <a:ea typeface="Twentieth Century"/>
                  <a:cs typeface="Twentieth Century"/>
                  <a:sym typeface="Twentieth Century"/>
                </a:rPr>
                <a:t> with native language can be integrated using </a:t>
              </a:r>
              <a:r>
                <a:rPr lang="en-IN" sz="1867" b="1" u="sng" dirty="0">
                  <a:solidFill>
                    <a:schemeClr val="dk1"/>
                  </a:solidFill>
                  <a:latin typeface="Twentieth Century"/>
                  <a:ea typeface="Twentieth Century"/>
                  <a:cs typeface="Twentieth Century"/>
                  <a:sym typeface="Twentieth Century"/>
                </a:rPr>
                <a:t>SwiftKey Symbols.</a:t>
              </a:r>
              <a:endParaRPr lang="en-IN" sz="1867" b="1" dirty="0">
                <a:solidFill>
                  <a:schemeClr val="dk1"/>
                </a:solidFill>
                <a:latin typeface="Twentieth Century"/>
                <a:ea typeface="Twentieth Century"/>
                <a:cs typeface="Twentieth Century"/>
                <a:sym typeface="Twentieth Century"/>
              </a:endParaRPr>
            </a:p>
            <a:p>
              <a:pPr marL="152396" lvl="1" indent="-152396">
                <a:lnSpc>
                  <a:spcPct val="90000"/>
                </a:lnSpc>
                <a:buClr>
                  <a:schemeClr val="dk1"/>
                </a:buClr>
                <a:buSzPts val="1200"/>
                <a:buFont typeface="Noto Sans Symbols"/>
                <a:buChar char="⮚"/>
              </a:pPr>
              <a:r>
                <a:rPr lang="en-IN" sz="1867" b="1" dirty="0">
                  <a:solidFill>
                    <a:schemeClr val="dk1"/>
                  </a:solidFill>
                  <a:latin typeface="Twentieth Century"/>
                  <a:ea typeface="Twentieth Century"/>
                  <a:cs typeface="Twentieth Century"/>
                  <a:sym typeface="Twentieth Century"/>
                </a:rPr>
                <a:t>Live visual caption/subtitles</a:t>
              </a:r>
              <a:r>
                <a:rPr lang="en-IN" sz="1867" dirty="0">
                  <a:solidFill>
                    <a:schemeClr val="dk1"/>
                  </a:solidFill>
                  <a:latin typeface="Twentieth Century"/>
                  <a:ea typeface="Twentieth Century"/>
                  <a:cs typeface="Twentieth Century"/>
                  <a:sym typeface="Twentieth Century"/>
                </a:rPr>
                <a:t> can be developed using emoji translator services.</a:t>
              </a:r>
              <a:endParaRPr lang="en-IN" sz="2400" dirty="0"/>
            </a:p>
            <a:p>
              <a:pPr marL="152396" lvl="1" indent="-152396">
                <a:lnSpc>
                  <a:spcPct val="90000"/>
                </a:lnSpc>
                <a:spcBef>
                  <a:spcPts val="280"/>
                </a:spcBef>
                <a:buClr>
                  <a:schemeClr val="dk1"/>
                </a:buClr>
                <a:buSzPts val="1400"/>
                <a:buFont typeface="Noto Sans Symbols"/>
                <a:buChar char="⮚"/>
              </a:pPr>
              <a:r>
                <a:rPr lang="en-IN" sz="1867" b="1" dirty="0">
                  <a:solidFill>
                    <a:schemeClr val="dk1"/>
                  </a:solidFill>
                  <a:latin typeface="Twentieth Century"/>
                  <a:ea typeface="Twentieth Century"/>
                  <a:cs typeface="Twentieth Century"/>
                  <a:sym typeface="Twentieth Century"/>
                </a:rPr>
                <a:t>Smart Reply </a:t>
              </a:r>
              <a:r>
                <a:rPr lang="en-IN" sz="1867" dirty="0">
                  <a:solidFill>
                    <a:schemeClr val="dk1"/>
                  </a:solidFill>
                  <a:latin typeface="Twentieth Century"/>
                  <a:ea typeface="Twentieth Century"/>
                  <a:cs typeface="Twentieth Century"/>
                  <a:sym typeface="Twentieth Century"/>
                </a:rPr>
                <a:t>to assist non verbal communication by predicting  responses using NLP and ML.</a:t>
              </a:r>
              <a:endParaRPr lang="en-IN" sz="2400" dirty="0"/>
            </a:p>
          </p:txBody>
        </p:sp>
        <p:sp>
          <p:nvSpPr>
            <p:cNvPr id="1049" name="Google Shape;1049;p18"/>
            <p:cNvSpPr/>
            <p:nvPr/>
          </p:nvSpPr>
          <p:spPr>
            <a:xfrm>
              <a:off x="283846" y="1503586"/>
              <a:ext cx="3973856" cy="206640"/>
            </a:xfrm>
            <a:prstGeom prst="roundRect">
              <a:avLst>
                <a:gd name="adj" fmla="val 16667"/>
              </a:avLst>
            </a:prstGeom>
            <a:gradFill>
              <a:gsLst>
                <a:gs pos="0">
                  <a:srgbClr val="EB8A5A"/>
                </a:gs>
                <a:gs pos="100000">
                  <a:srgbClr val="DC651D"/>
                </a:gs>
              </a:gsLst>
              <a:lin ang="5400000" scaled="0"/>
            </a:gradFill>
            <a:ln>
              <a:noFill/>
            </a:ln>
          </p:spPr>
          <p:txBody>
            <a:bodyPr spcFirstLastPara="1" wrap="square" lIns="121900" tIns="121900" rIns="121900" bIns="121900" anchor="ctr" anchorCtr="0">
              <a:noAutofit/>
            </a:bodyPr>
            <a:lstStyle/>
            <a:p>
              <a:endParaRPr sz="2400"/>
            </a:p>
          </p:txBody>
        </p:sp>
        <p:sp>
          <p:nvSpPr>
            <p:cNvPr id="1050" name="Google Shape;1050;p18"/>
            <p:cNvSpPr txBox="1"/>
            <p:nvPr/>
          </p:nvSpPr>
          <p:spPr>
            <a:xfrm>
              <a:off x="293933" y="1513673"/>
              <a:ext cx="3953682" cy="186466"/>
            </a:xfrm>
            <a:prstGeom prst="rect">
              <a:avLst/>
            </a:prstGeom>
            <a:noFill/>
            <a:ln>
              <a:noFill/>
            </a:ln>
          </p:spPr>
          <p:txBody>
            <a:bodyPr spcFirstLastPara="1" wrap="square" lIns="200267" tIns="0" rIns="200267" bIns="0" anchor="t" anchorCtr="0">
              <a:noAutofit/>
            </a:bodyPr>
            <a:lstStyle/>
            <a:p>
              <a:pPr>
                <a:lnSpc>
                  <a:spcPct val="90000"/>
                </a:lnSpc>
                <a:buClr>
                  <a:schemeClr val="lt1"/>
                </a:buClr>
                <a:buSzPts val="1600"/>
              </a:pPr>
              <a:r>
                <a:rPr lang="en-US" sz="2133" b="1">
                  <a:solidFill>
                    <a:schemeClr val="lt1"/>
                  </a:solidFill>
                  <a:latin typeface="Twentieth Century"/>
                  <a:ea typeface="Twentieth Century"/>
                  <a:cs typeface="Twentieth Century"/>
                  <a:sym typeface="Twentieth Century"/>
                </a:rPr>
                <a:t>Important areas</a:t>
              </a:r>
              <a:endParaRPr sz="2400"/>
            </a:p>
          </p:txBody>
        </p:sp>
        <p:sp>
          <p:nvSpPr>
            <p:cNvPr id="1051" name="Google Shape;1051;p18"/>
            <p:cNvSpPr/>
            <p:nvPr/>
          </p:nvSpPr>
          <p:spPr>
            <a:xfrm>
              <a:off x="0" y="3644326"/>
              <a:ext cx="5676938" cy="1190700"/>
            </a:xfrm>
            <a:prstGeom prst="rect">
              <a:avLst/>
            </a:prstGeom>
            <a:solidFill>
              <a:schemeClr val="lt1">
                <a:alpha val="89803"/>
              </a:schemeClr>
            </a:solidFill>
            <a:ln w="9525" cap="flat" cmpd="sng">
              <a:solidFill>
                <a:srgbClr val="D1573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052" name="Google Shape;1052;p18"/>
            <p:cNvSpPr txBox="1"/>
            <p:nvPr/>
          </p:nvSpPr>
          <p:spPr>
            <a:xfrm>
              <a:off x="0" y="3644326"/>
              <a:ext cx="5676938" cy="1190700"/>
            </a:xfrm>
            <a:prstGeom prst="rect">
              <a:avLst/>
            </a:prstGeom>
            <a:noFill/>
            <a:ln>
              <a:noFill/>
            </a:ln>
          </p:spPr>
          <p:txBody>
            <a:bodyPr spcFirstLastPara="1" wrap="square" lIns="587433" tIns="194367" rIns="587433" bIns="132733" anchor="t" anchorCtr="0">
              <a:noAutofit/>
            </a:bodyPr>
            <a:lstStyle/>
            <a:p>
              <a:pPr marL="152396" lvl="1" indent="-152396">
                <a:lnSpc>
                  <a:spcPct val="90000"/>
                </a:lnSpc>
                <a:buClr>
                  <a:schemeClr val="dk1"/>
                </a:buClr>
                <a:buSzPts val="1400"/>
                <a:buFont typeface="Twentieth Century"/>
                <a:buChar char="•"/>
              </a:pPr>
              <a:r>
                <a:rPr lang="en-US" sz="1867" b="1">
                  <a:solidFill>
                    <a:schemeClr val="dk1"/>
                  </a:solidFill>
                  <a:latin typeface="Twentieth Century"/>
                  <a:ea typeface="Twentieth Century"/>
                  <a:cs typeface="Twentieth Century"/>
                  <a:sym typeface="Twentieth Century"/>
                </a:rPr>
                <a:t>VR mode </a:t>
              </a:r>
              <a:r>
                <a:rPr lang="en-US" sz="1867">
                  <a:solidFill>
                    <a:schemeClr val="dk1"/>
                  </a:solidFill>
                  <a:latin typeface="Twentieth Century"/>
                  <a:ea typeface="Twentieth Century"/>
                  <a:cs typeface="Twentieth Century"/>
                  <a:sym typeface="Twentieth Century"/>
                </a:rPr>
                <a:t>can be developed  in future to attend meeting from circuit for more </a:t>
              </a:r>
              <a:r>
                <a:rPr lang="en-US" sz="1867" b="1">
                  <a:solidFill>
                    <a:schemeClr val="dk1"/>
                  </a:solidFill>
                  <a:latin typeface="Twentieth Century"/>
                  <a:ea typeface="Twentieth Century"/>
                  <a:cs typeface="Twentieth Century"/>
                  <a:sym typeface="Twentieth Century"/>
                </a:rPr>
                <a:t>immersive experience </a:t>
              </a:r>
              <a:r>
                <a:rPr lang="en-US" sz="1867">
                  <a:solidFill>
                    <a:schemeClr val="dk1"/>
                  </a:solidFill>
                  <a:latin typeface="Twentieth Century"/>
                  <a:ea typeface="Twentieth Century"/>
                  <a:cs typeface="Twentieth Century"/>
                  <a:sym typeface="Twentieth Century"/>
                </a:rPr>
                <a:t>based on:</a:t>
              </a:r>
              <a:endParaRPr sz="2400"/>
            </a:p>
            <a:p>
              <a:pPr marL="152396" lvl="1" indent="-152396">
                <a:lnSpc>
                  <a:spcPct val="90000"/>
                </a:lnSpc>
                <a:spcBef>
                  <a:spcPts val="280"/>
                </a:spcBef>
                <a:buClr>
                  <a:schemeClr val="dk1"/>
                </a:buClr>
                <a:buSzPts val="1400"/>
                <a:buFont typeface="Twentieth Century"/>
                <a:buChar char="•"/>
              </a:pPr>
              <a:r>
                <a:rPr lang="en-US" sz="1867">
                  <a:solidFill>
                    <a:schemeClr val="dk1"/>
                  </a:solidFill>
                  <a:latin typeface="Twentieth Century"/>
                  <a:ea typeface="Twentieth Century"/>
                  <a:cs typeface="Twentieth Century"/>
                  <a:sym typeface="Twentieth Century"/>
                </a:rPr>
                <a:t>1. Personalization as per accessibility</a:t>
              </a:r>
              <a:endParaRPr sz="2400"/>
            </a:p>
            <a:p>
              <a:pPr marL="152396" lvl="1" indent="-152396">
                <a:lnSpc>
                  <a:spcPct val="90000"/>
                </a:lnSpc>
                <a:spcBef>
                  <a:spcPts val="280"/>
                </a:spcBef>
                <a:buClr>
                  <a:schemeClr val="dk1"/>
                </a:buClr>
                <a:buSzPts val="1400"/>
                <a:buFont typeface="Twentieth Century"/>
                <a:buChar char="•"/>
              </a:pPr>
              <a:r>
                <a:rPr lang="en-US" sz="1867">
                  <a:solidFill>
                    <a:schemeClr val="dk1"/>
                  </a:solidFill>
                  <a:latin typeface="Twentieth Century"/>
                  <a:ea typeface="Twentieth Century"/>
                  <a:cs typeface="Twentieth Century"/>
                  <a:sym typeface="Twentieth Century"/>
                </a:rPr>
                <a:t>2. Adaption to accessibility using</a:t>
              </a:r>
              <a:r>
                <a:rPr lang="en-US" sz="1867" b="1">
                  <a:solidFill>
                    <a:schemeClr val="dk1"/>
                  </a:solidFill>
                  <a:latin typeface="Twentieth Century"/>
                  <a:ea typeface="Twentieth Century"/>
                  <a:cs typeface="Twentieth Century"/>
                  <a:sym typeface="Twentieth Century"/>
                </a:rPr>
                <a:t> Augmented Reality interactive controls. </a:t>
              </a:r>
              <a:endParaRPr sz="2400"/>
            </a:p>
          </p:txBody>
        </p:sp>
        <p:sp>
          <p:nvSpPr>
            <p:cNvPr id="1053" name="Google Shape;1053;p18"/>
            <p:cNvSpPr/>
            <p:nvPr/>
          </p:nvSpPr>
          <p:spPr>
            <a:xfrm>
              <a:off x="283846" y="3541006"/>
              <a:ext cx="3973856" cy="206640"/>
            </a:xfrm>
            <a:prstGeom prst="roundRect">
              <a:avLst>
                <a:gd name="adj" fmla="val 16667"/>
              </a:avLst>
            </a:prstGeom>
            <a:gradFill>
              <a:gsLst>
                <a:gs pos="0">
                  <a:srgbClr val="D86C5B"/>
                </a:gs>
                <a:gs pos="100000">
                  <a:srgbClr val="C73D23"/>
                </a:gs>
              </a:gsLst>
              <a:lin ang="5400000" scaled="0"/>
            </a:gradFill>
            <a:ln>
              <a:noFill/>
            </a:ln>
          </p:spPr>
          <p:txBody>
            <a:bodyPr spcFirstLastPara="1" wrap="square" lIns="121900" tIns="121900" rIns="121900" bIns="121900" anchor="ctr" anchorCtr="0">
              <a:noAutofit/>
            </a:bodyPr>
            <a:lstStyle/>
            <a:p>
              <a:endParaRPr sz="2400"/>
            </a:p>
          </p:txBody>
        </p:sp>
        <p:sp>
          <p:nvSpPr>
            <p:cNvPr id="1054" name="Google Shape;1054;p18"/>
            <p:cNvSpPr txBox="1"/>
            <p:nvPr/>
          </p:nvSpPr>
          <p:spPr>
            <a:xfrm>
              <a:off x="293933" y="3551093"/>
              <a:ext cx="3953682" cy="186466"/>
            </a:xfrm>
            <a:prstGeom prst="rect">
              <a:avLst/>
            </a:prstGeom>
            <a:noFill/>
            <a:ln>
              <a:noFill/>
            </a:ln>
          </p:spPr>
          <p:txBody>
            <a:bodyPr spcFirstLastPara="1" wrap="square" lIns="200267" tIns="0" rIns="200267" bIns="0" anchor="ctr" anchorCtr="0">
              <a:noAutofit/>
            </a:bodyPr>
            <a:lstStyle/>
            <a:p>
              <a:pPr>
                <a:lnSpc>
                  <a:spcPct val="90000"/>
                </a:lnSpc>
                <a:buClr>
                  <a:schemeClr val="lt1"/>
                </a:buClr>
                <a:buSzPts val="1600"/>
              </a:pPr>
              <a:r>
                <a:rPr lang="en-US" sz="2133" b="1">
                  <a:solidFill>
                    <a:schemeClr val="lt1"/>
                  </a:solidFill>
                  <a:latin typeface="Twentieth Century"/>
                  <a:ea typeface="Twentieth Century"/>
                  <a:cs typeface="Twentieth Century"/>
                  <a:sym typeface="Twentieth Century"/>
                </a:rPr>
                <a:t>Future VR  Mode </a:t>
              </a:r>
              <a:endParaRPr sz="2400"/>
            </a:p>
          </p:txBody>
        </p:sp>
      </p:grpSp>
      <p:pic>
        <p:nvPicPr>
          <p:cNvPr id="1055" name="Google Shape;1055;p18" descr="Plug"/>
          <p:cNvPicPr preferRelativeResize="0"/>
          <p:nvPr/>
        </p:nvPicPr>
        <p:blipFill rotWithShape="1">
          <a:blip r:embed="rId5">
            <a:alphaModFix/>
          </a:blip>
          <a:srcRect/>
          <a:stretch/>
        </p:blipFill>
        <p:spPr>
          <a:xfrm rot="5400000">
            <a:off x="6525450" y="204120"/>
            <a:ext cx="445252" cy="396915"/>
          </a:xfrm>
          <a:prstGeom prst="rect">
            <a:avLst/>
          </a:prstGeom>
          <a:noFill/>
          <a:ln>
            <a:noFill/>
          </a:ln>
        </p:spPr>
      </p:pic>
      <p:pic>
        <p:nvPicPr>
          <p:cNvPr id="1056" name="Google Shape;1056;p18" descr="Pin"/>
          <p:cNvPicPr preferRelativeResize="0"/>
          <p:nvPr/>
        </p:nvPicPr>
        <p:blipFill rotWithShape="1">
          <a:blip r:embed="rId6">
            <a:alphaModFix/>
          </a:blip>
          <a:srcRect/>
          <a:stretch/>
        </p:blipFill>
        <p:spPr>
          <a:xfrm>
            <a:off x="6705956" y="2105967"/>
            <a:ext cx="410459" cy="410459"/>
          </a:xfrm>
          <a:prstGeom prst="rect">
            <a:avLst/>
          </a:prstGeom>
          <a:noFill/>
          <a:ln>
            <a:noFill/>
          </a:ln>
        </p:spPr>
      </p:pic>
      <p:pic>
        <p:nvPicPr>
          <p:cNvPr id="1057" name="Google Shape;1057;p18"/>
          <p:cNvPicPr preferRelativeResize="0"/>
          <p:nvPr/>
        </p:nvPicPr>
        <p:blipFill rotWithShape="1">
          <a:blip r:embed="rId7">
            <a:alphaModFix/>
          </a:blip>
          <a:srcRect/>
          <a:stretch/>
        </p:blipFill>
        <p:spPr>
          <a:xfrm>
            <a:off x="6773071" y="4840936"/>
            <a:ext cx="410459" cy="410459"/>
          </a:xfrm>
          <a:prstGeom prst="rect">
            <a:avLst/>
          </a:prstGeom>
          <a:noFill/>
          <a:ln>
            <a:noFill/>
          </a:ln>
        </p:spPr>
      </p:pic>
    </p:spTree>
    <p:extLst>
      <p:ext uri="{BB962C8B-B14F-4D97-AF65-F5344CB8AC3E}">
        <p14:creationId xmlns:p14="http://schemas.microsoft.com/office/powerpoint/2010/main" val="27827369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061"/>
        <p:cNvGrpSpPr/>
        <p:nvPr/>
      </p:nvGrpSpPr>
      <p:grpSpPr>
        <a:xfrm>
          <a:off x="0" y="0"/>
          <a:ext cx="0" cy="0"/>
          <a:chOff x="0" y="0"/>
          <a:chExt cx="0" cy="0"/>
        </a:xfrm>
      </p:grpSpPr>
      <p:sp>
        <p:nvSpPr>
          <p:cNvPr id="1062" name="Google Shape;1062;p19"/>
          <p:cNvSpPr txBox="1">
            <a:spLocks noGrp="1"/>
          </p:cNvSpPr>
          <p:nvPr>
            <p:ph type="sldNum" idx="12"/>
          </p:nvPr>
        </p:nvSpPr>
        <p:spPr>
          <a:xfrm>
            <a:off x="320400" y="6326136"/>
            <a:ext cx="591024" cy="288033"/>
          </a:xfrm>
          <a:prstGeom prst="rect">
            <a:avLst/>
          </a:prstGeom>
          <a:noFill/>
          <a:ln>
            <a:noFill/>
          </a:ln>
        </p:spPr>
        <p:txBody>
          <a:bodyPr spcFirstLastPara="1" wrap="square" lIns="121900" tIns="60933" rIns="121900" bIns="60933" anchor="ctr" anchorCtr="0">
            <a:noAutofit/>
          </a:bodyPr>
          <a:lstStyle/>
          <a:p>
            <a:fld id="{00000000-1234-1234-1234-123412341234}" type="slidenum">
              <a:rPr lang="en-US"/>
              <a:pPr/>
              <a:t>18</a:t>
            </a:fld>
            <a:endParaRPr dirty="0"/>
          </a:p>
        </p:txBody>
      </p:sp>
      <p:pic>
        <p:nvPicPr>
          <p:cNvPr id="1063" name="Google Shape;1063;p19"/>
          <p:cNvPicPr preferRelativeResize="0"/>
          <p:nvPr/>
        </p:nvPicPr>
        <p:blipFill rotWithShape="1">
          <a:blip r:embed="rId3">
            <a:alphaModFix/>
          </a:blip>
          <a:srcRect/>
          <a:stretch/>
        </p:blipFill>
        <p:spPr>
          <a:xfrm>
            <a:off x="160200" y="41697"/>
            <a:ext cx="11871600" cy="6433943"/>
          </a:xfrm>
          <a:prstGeom prst="rect">
            <a:avLst/>
          </a:prstGeom>
          <a:noFill/>
          <a:ln>
            <a:noFill/>
          </a:ln>
        </p:spPr>
      </p:pic>
      <p:grpSp>
        <p:nvGrpSpPr>
          <p:cNvPr id="1064" name="Google Shape;1064;p19"/>
          <p:cNvGrpSpPr/>
          <p:nvPr/>
        </p:nvGrpSpPr>
        <p:grpSpPr>
          <a:xfrm>
            <a:off x="1313101" y="1018726"/>
            <a:ext cx="5987441" cy="1762021"/>
            <a:chOff x="-1490348" y="134618"/>
            <a:chExt cx="5885465" cy="2531561"/>
          </a:xfrm>
        </p:grpSpPr>
        <p:grpSp>
          <p:nvGrpSpPr>
            <p:cNvPr id="1065" name="Google Shape;1065;p19"/>
            <p:cNvGrpSpPr/>
            <p:nvPr/>
          </p:nvGrpSpPr>
          <p:grpSpPr>
            <a:xfrm>
              <a:off x="-1490348" y="134618"/>
              <a:ext cx="5885465" cy="2236711"/>
              <a:chOff x="-1870176" y="-290263"/>
              <a:chExt cx="5885465" cy="2236711"/>
            </a:xfrm>
          </p:grpSpPr>
          <p:sp>
            <p:nvSpPr>
              <p:cNvPr id="1066" name="Google Shape;1066;p19"/>
              <p:cNvSpPr/>
              <p:nvPr/>
            </p:nvSpPr>
            <p:spPr>
              <a:xfrm>
                <a:off x="-1870176" y="-290263"/>
                <a:ext cx="2236711" cy="2236711"/>
              </a:xfrm>
              <a:prstGeom prst="blockArc">
                <a:avLst>
                  <a:gd name="adj1" fmla="val 18900000"/>
                  <a:gd name="adj2" fmla="val 2700000"/>
                  <a:gd name="adj3" fmla="val 966"/>
                </a:avLst>
              </a:prstGeom>
              <a:noFill/>
              <a:ln w="25400" cap="flat" cmpd="sng">
                <a:solidFill>
                  <a:srgbClr val="006C9B"/>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067" name="Google Shape;1067;p19"/>
              <p:cNvSpPr/>
              <p:nvPr/>
            </p:nvSpPr>
            <p:spPr>
              <a:xfrm>
                <a:off x="192846" y="103024"/>
                <a:ext cx="3822443" cy="303393"/>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1068" name="Google Shape;1068;p19"/>
              <p:cNvSpPr txBox="1"/>
              <p:nvPr/>
            </p:nvSpPr>
            <p:spPr>
              <a:xfrm>
                <a:off x="192846" y="103024"/>
                <a:ext cx="3822443" cy="303393"/>
              </a:xfrm>
              <a:prstGeom prst="rect">
                <a:avLst/>
              </a:prstGeom>
              <a:noFill/>
              <a:ln>
                <a:noFill/>
              </a:ln>
            </p:spPr>
            <p:txBody>
              <a:bodyPr spcFirstLastPara="1" wrap="square" lIns="269633" tIns="37233" rIns="37233" bIns="37233" anchor="ctr" anchorCtr="0">
                <a:noAutofit/>
              </a:bodyPr>
              <a:lstStyle/>
              <a:p>
                <a:pPr>
                  <a:lnSpc>
                    <a:spcPct val="90000"/>
                  </a:lnSpc>
                  <a:buClr>
                    <a:schemeClr val="lt1"/>
                  </a:buClr>
                  <a:buSzPts val="1100"/>
                </a:pPr>
                <a:r>
                  <a:rPr lang="en-US" sz="1467">
                    <a:solidFill>
                      <a:schemeClr val="lt1"/>
                    </a:solidFill>
                    <a:latin typeface="Verdana"/>
                    <a:ea typeface="Verdana"/>
                    <a:cs typeface="Verdana"/>
                    <a:sym typeface="Verdana"/>
                  </a:rPr>
                  <a:t>T1: Go Live Date.</a:t>
                </a:r>
                <a:endParaRPr sz="2400"/>
              </a:p>
              <a:p>
                <a:pPr>
                  <a:lnSpc>
                    <a:spcPct val="90000"/>
                  </a:lnSpc>
                  <a:spcBef>
                    <a:spcPts val="513"/>
                  </a:spcBef>
                  <a:buClr>
                    <a:schemeClr val="lt1"/>
                  </a:buClr>
                  <a:buSzPts val="1100"/>
                </a:pPr>
                <a:r>
                  <a:rPr lang="en-US" sz="1467">
                    <a:solidFill>
                      <a:schemeClr val="lt1"/>
                    </a:solidFill>
                    <a:latin typeface="Verdana"/>
                    <a:ea typeface="Verdana"/>
                    <a:cs typeface="Verdana"/>
                    <a:sym typeface="Verdana"/>
                  </a:rPr>
                  <a:t>       : Arpil to align with client.</a:t>
                </a:r>
                <a:endParaRPr sz="2400"/>
              </a:p>
            </p:txBody>
          </p:sp>
          <p:sp>
            <p:nvSpPr>
              <p:cNvPr id="1069" name="Google Shape;1069;p19"/>
              <p:cNvSpPr/>
              <p:nvPr/>
            </p:nvSpPr>
            <p:spPr>
              <a:xfrm>
                <a:off x="1496825" y="1337699"/>
                <a:ext cx="318484" cy="31848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1070" name="Google Shape;1070;p19"/>
              <p:cNvSpPr/>
              <p:nvPr/>
            </p:nvSpPr>
            <p:spPr>
              <a:xfrm>
                <a:off x="338921" y="509574"/>
                <a:ext cx="3676368" cy="254787"/>
              </a:xfrm>
              <a:prstGeom prst="rect">
                <a:avLst/>
              </a:prstGeom>
              <a:gradFill>
                <a:gsLst>
                  <a:gs pos="0">
                    <a:srgbClr val="006CA5"/>
                  </a:gs>
                  <a:gs pos="80000">
                    <a:srgbClr val="008FD9"/>
                  </a:gs>
                  <a:gs pos="100000">
                    <a:srgbClr val="0092DF"/>
                  </a:gs>
                </a:gsLst>
                <a:lin ang="16200000" scaled="0"/>
              </a:gradFill>
              <a:ln w="9525" cap="flat" cmpd="sng">
                <a:solidFill>
                  <a:srgbClr val="FFFF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1071" name="Google Shape;1071;p19"/>
              <p:cNvSpPr txBox="1"/>
              <p:nvPr/>
            </p:nvSpPr>
            <p:spPr>
              <a:xfrm>
                <a:off x="338921" y="509574"/>
                <a:ext cx="3676368" cy="254787"/>
              </a:xfrm>
              <a:prstGeom prst="rect">
                <a:avLst/>
              </a:prstGeom>
              <a:noFill/>
              <a:ln>
                <a:noFill/>
              </a:ln>
            </p:spPr>
            <p:txBody>
              <a:bodyPr spcFirstLastPara="1" wrap="square" lIns="269633" tIns="20300" rIns="20300" bIns="20300" anchor="ctr" anchorCtr="0">
                <a:noAutofit/>
              </a:bodyPr>
              <a:lstStyle/>
              <a:p>
                <a:pPr>
                  <a:lnSpc>
                    <a:spcPct val="90000"/>
                  </a:lnSpc>
                  <a:buClr>
                    <a:schemeClr val="lt1"/>
                  </a:buClr>
                  <a:buSzPts val="600"/>
                </a:pPr>
                <a:r>
                  <a:rPr lang="en-US" sz="800">
                    <a:solidFill>
                      <a:schemeClr val="lt1"/>
                    </a:solidFill>
                    <a:latin typeface="Verdana"/>
                    <a:ea typeface="Verdana"/>
                    <a:cs typeface="Verdana"/>
                    <a:sym typeface="Verdana"/>
                  </a:rPr>
                  <a:t>T2: App Testing</a:t>
                </a:r>
                <a:endParaRPr sz="2400"/>
              </a:p>
              <a:p>
                <a:pPr>
                  <a:lnSpc>
                    <a:spcPct val="90000"/>
                  </a:lnSpc>
                  <a:spcBef>
                    <a:spcPts val="280"/>
                  </a:spcBef>
                  <a:buClr>
                    <a:schemeClr val="lt1"/>
                  </a:buClr>
                  <a:buSzPts val="600"/>
                </a:pPr>
                <a:r>
                  <a:rPr lang="en-US" sz="800">
                    <a:solidFill>
                      <a:schemeClr val="lt1"/>
                    </a:solidFill>
                    <a:latin typeface="Verdana"/>
                    <a:ea typeface="Verdana"/>
                    <a:cs typeface="Verdana"/>
                    <a:sym typeface="Verdana"/>
                  </a:rPr>
                  <a:t>    :Ashish Need</a:t>
                </a:r>
                <a:endParaRPr sz="800">
                  <a:solidFill>
                    <a:schemeClr val="lt1"/>
                  </a:solidFill>
                  <a:latin typeface="Verdana"/>
                  <a:ea typeface="Verdana"/>
                  <a:cs typeface="Verdana"/>
                  <a:sym typeface="Verdana"/>
                </a:endParaRPr>
              </a:p>
            </p:txBody>
          </p:sp>
          <p:sp>
            <p:nvSpPr>
              <p:cNvPr id="1072" name="Google Shape;1072;p19"/>
              <p:cNvSpPr/>
              <p:nvPr/>
            </p:nvSpPr>
            <p:spPr>
              <a:xfrm>
                <a:off x="183587" y="477726"/>
                <a:ext cx="318484" cy="318484"/>
              </a:xfrm>
              <a:prstGeom prst="ellipse">
                <a:avLst/>
              </a:prstGeom>
              <a:solidFill>
                <a:srgbClr val="FFFF00"/>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1073" name="Google Shape;1073;p19"/>
              <p:cNvSpPr/>
              <p:nvPr/>
            </p:nvSpPr>
            <p:spPr>
              <a:xfrm>
                <a:off x="338921" y="891821"/>
                <a:ext cx="3676368" cy="254787"/>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1074" name="Google Shape;1074;p19"/>
              <p:cNvSpPr txBox="1"/>
              <p:nvPr/>
            </p:nvSpPr>
            <p:spPr>
              <a:xfrm>
                <a:off x="338921" y="891821"/>
                <a:ext cx="3676368" cy="254787"/>
              </a:xfrm>
              <a:prstGeom prst="rect">
                <a:avLst/>
              </a:prstGeom>
              <a:noFill/>
              <a:ln>
                <a:noFill/>
              </a:ln>
            </p:spPr>
            <p:txBody>
              <a:bodyPr spcFirstLastPara="1" wrap="square" lIns="269633" tIns="20300" rIns="20300" bIns="20300" anchor="ctr" anchorCtr="0">
                <a:noAutofit/>
              </a:bodyPr>
              <a:lstStyle/>
              <a:p>
                <a:pPr>
                  <a:lnSpc>
                    <a:spcPct val="90000"/>
                  </a:lnSpc>
                  <a:buClr>
                    <a:schemeClr val="lt1"/>
                  </a:buClr>
                  <a:buSzPts val="600"/>
                </a:pPr>
                <a:r>
                  <a:rPr lang="en-US" sz="800">
                    <a:solidFill>
                      <a:schemeClr val="lt1"/>
                    </a:solidFill>
                    <a:latin typeface="Verdana"/>
                    <a:ea typeface="Verdana"/>
                    <a:cs typeface="Verdana"/>
                    <a:sym typeface="Verdana"/>
                  </a:rPr>
                  <a:t>T3: Support Handover</a:t>
                </a:r>
                <a:endParaRPr sz="800">
                  <a:solidFill>
                    <a:schemeClr val="lt1"/>
                  </a:solidFill>
                  <a:latin typeface="Verdana"/>
                  <a:ea typeface="Verdana"/>
                  <a:cs typeface="Verdana"/>
                  <a:sym typeface="Verdana"/>
                </a:endParaRPr>
              </a:p>
            </p:txBody>
          </p:sp>
          <p:sp>
            <p:nvSpPr>
              <p:cNvPr id="1075" name="Google Shape;1075;p19"/>
              <p:cNvSpPr/>
              <p:nvPr/>
            </p:nvSpPr>
            <p:spPr>
              <a:xfrm>
                <a:off x="394126" y="247327"/>
                <a:ext cx="181316" cy="133610"/>
              </a:xfrm>
              <a:prstGeom prst="ellipse">
                <a:avLst/>
              </a:prstGeom>
              <a:blipFill rotWithShape="1">
                <a:blip r:embed="rId4">
                  <a:alphaModFix/>
                </a:blip>
                <a:stretch>
                  <a:fillRect/>
                </a:stretch>
              </a:blip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1076" name="Google Shape;1076;p19"/>
              <p:cNvSpPr/>
              <p:nvPr/>
            </p:nvSpPr>
            <p:spPr>
              <a:xfrm>
                <a:off x="192846" y="1274069"/>
                <a:ext cx="3822443" cy="254787"/>
              </a:xfrm>
              <a:prstGeom prst="rect">
                <a:avLst/>
              </a:prstGeom>
              <a:gradFill>
                <a:gsLst>
                  <a:gs pos="0">
                    <a:srgbClr val="006CA5"/>
                  </a:gs>
                  <a:gs pos="80000">
                    <a:srgbClr val="008FD9"/>
                  </a:gs>
                  <a:gs pos="100000">
                    <a:srgbClr val="0092DF"/>
                  </a:gs>
                </a:gsLst>
                <a:lin ang="16200000" scaled="0"/>
              </a:gradFill>
              <a:ln>
                <a:noFill/>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sp>
            <p:nvSpPr>
              <p:cNvPr id="1077" name="Google Shape;1077;p19"/>
              <p:cNvSpPr txBox="1"/>
              <p:nvPr/>
            </p:nvSpPr>
            <p:spPr>
              <a:xfrm>
                <a:off x="192846" y="1274069"/>
                <a:ext cx="3822443" cy="254787"/>
              </a:xfrm>
              <a:prstGeom prst="rect">
                <a:avLst/>
              </a:prstGeom>
              <a:noFill/>
              <a:ln>
                <a:noFill/>
              </a:ln>
            </p:spPr>
            <p:txBody>
              <a:bodyPr spcFirstLastPara="1" wrap="square" lIns="269633" tIns="20300" rIns="20300" bIns="20300" anchor="ctr" anchorCtr="0">
                <a:noAutofit/>
              </a:bodyPr>
              <a:lstStyle/>
              <a:p>
                <a:pPr>
                  <a:lnSpc>
                    <a:spcPct val="90000"/>
                  </a:lnSpc>
                  <a:buClr>
                    <a:schemeClr val="lt1"/>
                  </a:buClr>
                  <a:buSzPts val="600"/>
                </a:pPr>
                <a:r>
                  <a:rPr lang="en-US" sz="800">
                    <a:solidFill>
                      <a:schemeClr val="lt1"/>
                    </a:solidFill>
                    <a:latin typeface="Verdana"/>
                    <a:ea typeface="Verdana"/>
                    <a:cs typeface="Verdana"/>
                    <a:sym typeface="Verdana"/>
                  </a:rPr>
                  <a:t>T4:Conclusion</a:t>
                </a:r>
                <a:endParaRPr sz="800">
                  <a:solidFill>
                    <a:schemeClr val="lt1"/>
                  </a:solidFill>
                  <a:latin typeface="Verdana"/>
                  <a:ea typeface="Verdana"/>
                  <a:cs typeface="Verdana"/>
                  <a:sym typeface="Verdana"/>
                </a:endParaRPr>
              </a:p>
            </p:txBody>
          </p:sp>
          <p:sp>
            <p:nvSpPr>
              <p:cNvPr id="1078" name="Google Shape;1078;p19"/>
              <p:cNvSpPr/>
              <p:nvPr/>
            </p:nvSpPr>
            <p:spPr>
              <a:xfrm>
                <a:off x="33604" y="1242220"/>
                <a:ext cx="318484" cy="318484"/>
              </a:xfrm>
              <a:prstGeom prst="ellipse">
                <a:avLst/>
              </a:prstGeom>
              <a:solidFill>
                <a:schemeClr val="lt1"/>
              </a:solidFill>
              <a:ln w="9525" cap="flat" cmpd="sng">
                <a:solidFill>
                  <a:schemeClr val="accent5"/>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grpSp>
        <p:sp>
          <p:nvSpPr>
            <p:cNvPr id="1079" name="Google Shape;1079;p19"/>
            <p:cNvSpPr/>
            <p:nvPr/>
          </p:nvSpPr>
          <p:spPr>
            <a:xfrm>
              <a:off x="647854" y="2056075"/>
              <a:ext cx="610104" cy="610104"/>
            </a:xfrm>
            <a:prstGeom prst="ellipse">
              <a:avLst/>
            </a:prstGeom>
            <a:solidFill>
              <a:schemeClr val="lt2"/>
            </a:solidFill>
            <a:ln w="9525" cap="flat" cmpd="sng">
              <a:solidFill>
                <a:srgbClr val="0086C3"/>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121900" rIns="121900" bIns="121900" anchor="ctr" anchorCtr="0">
              <a:noAutofit/>
            </a:bodyPr>
            <a:lstStyle/>
            <a:p>
              <a:endParaRPr sz="2400"/>
            </a:p>
          </p:txBody>
        </p:sp>
      </p:grpSp>
    </p:spTree>
    <p:extLst>
      <p:ext uri="{BB962C8B-B14F-4D97-AF65-F5344CB8AC3E}">
        <p14:creationId xmlns:p14="http://schemas.microsoft.com/office/powerpoint/2010/main" val="1191874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9100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15E659B3-EA4B-405E-9FAE-00661F32418F}"/>
              </a:ext>
            </a:extLst>
          </p:cNvPr>
          <p:cNvSpPr>
            <a:spLocks noGrp="1"/>
          </p:cNvSpPr>
          <p:nvPr>
            <p:ph type="ctrTitle"/>
          </p:nvPr>
        </p:nvSpPr>
        <p:spPr/>
        <p:txBody>
          <a:bodyPr/>
          <a:lstStyle/>
          <a:p>
            <a:r>
              <a:rPr lang="en-US" altLang="fr-FR" sz="1600" cap="all" dirty="0">
                <a:solidFill>
                  <a:srgbClr val="FFFF00"/>
                </a:solidFill>
              </a:rPr>
              <a:t>Providing Inclusive work environment for people in the autism spectrum</a:t>
            </a:r>
            <a:br>
              <a:rPr lang="en-US" altLang="fr-FR" sz="1600" cap="all" dirty="0">
                <a:solidFill>
                  <a:srgbClr val="FFFF00"/>
                </a:solidFill>
              </a:rPr>
            </a:br>
            <a:r>
              <a:rPr lang="en-US" altLang="fr-FR" sz="1600" cap="all" dirty="0">
                <a:solidFill>
                  <a:srgbClr val="FFFF00"/>
                </a:solidFill>
              </a:rPr>
              <a:t/>
            </a:r>
            <a:br>
              <a:rPr lang="en-US" altLang="fr-FR" sz="1600" cap="all" dirty="0">
                <a:solidFill>
                  <a:srgbClr val="FFFF00"/>
                </a:solidFill>
              </a:rPr>
            </a:br>
            <a:r>
              <a:rPr lang="en-US" altLang="fr-FR" sz="1600" cap="all" dirty="0">
                <a:solidFill>
                  <a:srgbClr val="FFFF00"/>
                </a:solidFill>
              </a:rPr>
              <a:t/>
            </a:r>
            <a:br>
              <a:rPr lang="en-US" altLang="fr-FR" sz="1600" cap="all" dirty="0">
                <a:solidFill>
                  <a:srgbClr val="FFFF00"/>
                </a:solidFill>
              </a:rPr>
            </a:br>
            <a:r>
              <a:rPr lang="en-US" altLang="fr-FR" sz="1600" cap="all" dirty="0">
                <a:solidFill>
                  <a:srgbClr val="FFFF00"/>
                </a:solidFill>
              </a:rPr>
              <a:t>Team </a:t>
            </a:r>
            <a:r>
              <a:rPr lang="en-US" altLang="fr-FR" sz="1600" u="sng" cap="all" dirty="0">
                <a:solidFill>
                  <a:srgbClr val="FFFF00"/>
                </a:solidFill>
              </a:rPr>
              <a:t>Ummeed</a:t>
            </a:r>
            <a:br>
              <a:rPr lang="en-US" altLang="fr-FR" sz="1600" u="sng" cap="all" dirty="0">
                <a:solidFill>
                  <a:srgbClr val="FFFF00"/>
                </a:solidFill>
              </a:rPr>
            </a:br>
            <a:r>
              <a:rPr lang="en-US" altLang="fr-FR" sz="1600" cap="all" dirty="0">
                <a:solidFill>
                  <a:srgbClr val="FFFF00"/>
                </a:solidFill>
              </a:rPr>
              <a:t/>
            </a:r>
            <a:br>
              <a:rPr lang="en-US" altLang="fr-FR" sz="1600" cap="all" dirty="0">
                <a:solidFill>
                  <a:srgbClr val="FFFF00"/>
                </a:solidFill>
              </a:rPr>
            </a:br>
            <a:r>
              <a:rPr lang="en-US" altLang="fr-FR" sz="1200" cap="all" dirty="0">
                <a:solidFill>
                  <a:srgbClr val="FFFF00"/>
                </a:solidFill>
              </a:rPr>
              <a:t>Ashish Kaul</a:t>
            </a:r>
            <a:br>
              <a:rPr lang="en-US" altLang="fr-FR" sz="1200" cap="all" dirty="0">
                <a:solidFill>
                  <a:srgbClr val="FFFF00"/>
                </a:solidFill>
              </a:rPr>
            </a:br>
            <a:r>
              <a:rPr lang="en-US" altLang="fr-FR" sz="1200" cap="all" dirty="0">
                <a:solidFill>
                  <a:srgbClr val="FFFF00"/>
                </a:solidFill>
              </a:rPr>
              <a:t>Sangeetha SelvakumaR</a:t>
            </a:r>
            <a:br>
              <a:rPr lang="en-US" altLang="fr-FR" sz="1200" cap="all" dirty="0">
                <a:solidFill>
                  <a:srgbClr val="FFFF00"/>
                </a:solidFill>
              </a:rPr>
            </a:br>
            <a:r>
              <a:rPr lang="en-US" altLang="fr-FR" sz="1200" dirty="0">
                <a:solidFill>
                  <a:srgbClr val="FFFF00"/>
                </a:solidFill>
              </a:rPr>
              <a:t>Vignesh J</a:t>
            </a:r>
            <a:br>
              <a:rPr lang="en-US" altLang="fr-FR" sz="1200" dirty="0">
                <a:solidFill>
                  <a:srgbClr val="FFFF00"/>
                </a:solidFill>
              </a:rPr>
            </a:br>
            <a:r>
              <a:rPr lang="en-US" altLang="fr-FR" sz="1200" dirty="0">
                <a:solidFill>
                  <a:srgbClr val="FFFF00"/>
                </a:solidFill>
              </a:rPr>
              <a:t>Nithya Sagar</a:t>
            </a:r>
            <a:br>
              <a:rPr lang="en-US" altLang="fr-FR" sz="1200" dirty="0">
                <a:solidFill>
                  <a:srgbClr val="FFFF00"/>
                </a:solidFill>
              </a:rPr>
            </a:br>
            <a:r>
              <a:rPr lang="en-US" altLang="fr-FR" sz="1200" dirty="0">
                <a:solidFill>
                  <a:srgbClr val="FFFF00"/>
                </a:solidFill>
              </a:rPr>
              <a:t>Naveen</a:t>
            </a:r>
            <a:br>
              <a:rPr lang="en-US" altLang="fr-FR" sz="1200" dirty="0">
                <a:solidFill>
                  <a:srgbClr val="FFFF00"/>
                </a:solidFill>
              </a:rPr>
            </a:br>
            <a:r>
              <a:rPr lang="en-US" altLang="fr-FR" sz="1200" dirty="0" err="1">
                <a:solidFill>
                  <a:srgbClr val="FFFF00"/>
                </a:solidFill>
              </a:rPr>
              <a:t>roopali</a:t>
            </a:r>
            <a:endParaRPr lang="en-GB" sz="1200" dirty="0"/>
          </a:p>
        </p:txBody>
      </p:sp>
      <p:sp>
        <p:nvSpPr>
          <p:cNvPr id="5" name="Text Placeholder 4">
            <a:extLst>
              <a:ext uri="{FF2B5EF4-FFF2-40B4-BE49-F238E27FC236}">
                <a16:creationId xmlns:a16="http://schemas.microsoft.com/office/drawing/2014/main" xmlns="" id="{E224FF9E-2B77-414F-BB56-D2E542436BF5}"/>
              </a:ext>
            </a:extLst>
          </p:cNvPr>
          <p:cNvSpPr>
            <a:spLocks noGrp="1"/>
          </p:cNvSpPr>
          <p:nvPr>
            <p:ph type="body" sz="quarter" idx="10"/>
          </p:nvPr>
        </p:nvSpPr>
        <p:spPr/>
        <p:txBody>
          <a:bodyPr/>
          <a:lstStyle/>
          <a:p>
            <a:r>
              <a:rPr lang="en-US" dirty="0"/>
              <a:t>1</a:t>
            </a:r>
            <a:endParaRPr lang="en-IN" dirty="0"/>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2058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188640"/>
            <a:ext cx="10947772" cy="5801894"/>
          </a:xfrm>
          <a:prstGeom prst="rect">
            <a:avLst/>
          </a:prstGeom>
        </p:spPr>
      </p:pic>
    </p:spTree>
    <p:extLst>
      <p:ext uri="{BB962C8B-B14F-4D97-AF65-F5344CB8AC3E}">
        <p14:creationId xmlns:p14="http://schemas.microsoft.com/office/powerpoint/2010/main" val="3514804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188640"/>
            <a:ext cx="10947772" cy="5801894"/>
          </a:xfrm>
          <a:prstGeom prst="rect">
            <a:avLst/>
          </a:prstGeom>
        </p:spPr>
      </p:pic>
    </p:spTree>
    <p:extLst>
      <p:ext uri="{BB962C8B-B14F-4D97-AF65-F5344CB8AC3E}">
        <p14:creationId xmlns:p14="http://schemas.microsoft.com/office/powerpoint/2010/main" val="2707295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4D288803-A6C7-4081-95A5-15932004F3CE}"/>
              </a:ext>
            </a:extLst>
          </p:cNvPr>
          <p:cNvSpPr>
            <a:spLocks noGrp="1"/>
          </p:cNvSpPr>
          <p:nvPr>
            <p:ph type="ctrTitle"/>
          </p:nvPr>
        </p:nvSpPr>
        <p:spPr>
          <a:xfrm>
            <a:off x="4367808" y="334962"/>
            <a:ext cx="5781098" cy="397545"/>
          </a:xfrm>
        </p:spPr>
        <p:txBody>
          <a:bodyPr/>
          <a:lstStyle/>
          <a:p>
            <a:r>
              <a:rPr lang="en-GB" dirty="0"/>
              <a:t>CURRENT SCENARIO</a:t>
            </a:r>
          </a:p>
        </p:txBody>
      </p:sp>
      <p:sp>
        <p:nvSpPr>
          <p:cNvPr id="8" name="Text Placeholder 7">
            <a:extLst>
              <a:ext uri="{FF2B5EF4-FFF2-40B4-BE49-F238E27FC236}">
                <a16:creationId xmlns:a16="http://schemas.microsoft.com/office/drawing/2014/main" xmlns="" id="{145E7C48-DD2C-40CC-B16F-A84911D789EE}"/>
              </a:ext>
            </a:extLst>
          </p:cNvPr>
          <p:cNvSpPr>
            <a:spLocks noGrp="1"/>
          </p:cNvSpPr>
          <p:nvPr>
            <p:ph type="body" sz="quarter" idx="11"/>
          </p:nvPr>
        </p:nvSpPr>
        <p:spPr/>
        <p:txBody>
          <a:bodyPr/>
          <a:lstStyle/>
          <a:p>
            <a:pPr lvl="0"/>
            <a:r>
              <a:rPr lang="en-GB" dirty="0"/>
              <a:t>.</a:t>
            </a:r>
          </a:p>
        </p:txBody>
      </p:sp>
      <p:grpSp>
        <p:nvGrpSpPr>
          <p:cNvPr id="17" name="Google Shape;484;p5">
            <a:extLst>
              <a:ext uri="{FF2B5EF4-FFF2-40B4-BE49-F238E27FC236}">
                <a16:creationId xmlns:a16="http://schemas.microsoft.com/office/drawing/2014/main" xmlns="" id="{D8593985-3E56-4635-80EF-CDFE432EBBCC}"/>
              </a:ext>
            </a:extLst>
          </p:cNvPr>
          <p:cNvGrpSpPr/>
          <p:nvPr/>
        </p:nvGrpSpPr>
        <p:grpSpPr>
          <a:xfrm>
            <a:off x="3035919" y="1066800"/>
            <a:ext cx="8748713" cy="5331241"/>
            <a:chOff x="0" y="0"/>
            <a:chExt cx="8748713" cy="3724274"/>
          </a:xfrm>
        </p:grpSpPr>
        <p:sp>
          <p:nvSpPr>
            <p:cNvPr id="18" name="Google Shape;485;p5">
              <a:extLst>
                <a:ext uri="{FF2B5EF4-FFF2-40B4-BE49-F238E27FC236}">
                  <a16:creationId xmlns:a16="http://schemas.microsoft.com/office/drawing/2014/main" xmlns="" id="{6B070F34-4108-451A-A843-8F56B81F3B4D}"/>
                </a:ext>
              </a:extLst>
            </p:cNvPr>
            <p:cNvSpPr/>
            <p:nvPr/>
          </p:nvSpPr>
          <p:spPr>
            <a:xfrm>
              <a:off x="0" y="0"/>
              <a:ext cx="8748713" cy="1117282"/>
            </a:xfrm>
            <a:prstGeom prst="roundRect">
              <a:avLst>
                <a:gd name="adj" fmla="val 10000"/>
              </a:avLst>
            </a:prstGeom>
            <a:solidFill>
              <a:srgbClr val="C9E3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86;p5">
              <a:extLst>
                <a:ext uri="{FF2B5EF4-FFF2-40B4-BE49-F238E27FC236}">
                  <a16:creationId xmlns:a16="http://schemas.microsoft.com/office/drawing/2014/main" xmlns="" id="{F436FB45-D258-4089-A132-9606F5DCAD1E}"/>
                </a:ext>
              </a:extLst>
            </p:cNvPr>
            <p:cNvSpPr/>
            <p:nvPr/>
          </p:nvSpPr>
          <p:spPr>
            <a:xfrm>
              <a:off x="323125" y="268612"/>
              <a:ext cx="614505" cy="614505"/>
            </a:xfrm>
            <a:prstGeom prst="rect">
              <a:avLst/>
            </a:prstGeom>
            <a:blipFill rotWithShape="1">
              <a:blip r:embed="rId2">
                <a:alphaModFix/>
              </a:blip>
              <a:stretch>
                <a:fillRect l="-3999" r="-3999"/>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87;p5">
              <a:extLst>
                <a:ext uri="{FF2B5EF4-FFF2-40B4-BE49-F238E27FC236}">
                  <a16:creationId xmlns:a16="http://schemas.microsoft.com/office/drawing/2014/main" xmlns="" id="{21B10F07-A49C-4A36-AD70-612661C64244}"/>
                </a:ext>
              </a:extLst>
            </p:cNvPr>
            <p:cNvSpPr/>
            <p:nvPr/>
          </p:nvSpPr>
          <p:spPr>
            <a:xfrm>
              <a:off x="1290461" y="0"/>
              <a:ext cx="7458251" cy="1117282"/>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88;p5">
              <a:extLst>
                <a:ext uri="{FF2B5EF4-FFF2-40B4-BE49-F238E27FC236}">
                  <a16:creationId xmlns:a16="http://schemas.microsoft.com/office/drawing/2014/main" xmlns="" id="{82902D3A-D7E5-4640-A441-3B74EAA408B9}"/>
                </a:ext>
              </a:extLst>
            </p:cNvPr>
            <p:cNvSpPr txBox="1"/>
            <p:nvPr/>
          </p:nvSpPr>
          <p:spPr>
            <a:xfrm>
              <a:off x="1290461" y="0"/>
              <a:ext cx="7458251" cy="1117282"/>
            </a:xfrm>
            <a:prstGeom prst="rect">
              <a:avLst/>
            </a:prstGeom>
            <a:noFill/>
            <a:ln>
              <a:noFill/>
            </a:ln>
          </p:spPr>
          <p:txBody>
            <a:bodyPr spcFirstLastPara="1" wrap="square" lIns="118225" tIns="118225" rIns="118225" bIns="118225" anchor="ctr" anchorCtr="0">
              <a:noAutofit/>
            </a:bodyPr>
            <a:lstStyle/>
            <a:p>
              <a:pPr marL="0" marR="0" lvl="0" indent="0" algn="just" rtl="0">
                <a:lnSpc>
                  <a:spcPct val="100000"/>
                </a:lnSpc>
                <a:spcBef>
                  <a:spcPts val="0"/>
                </a:spcBef>
                <a:spcAft>
                  <a:spcPts val="0"/>
                </a:spcAft>
                <a:buClr>
                  <a:schemeClr val="dk1"/>
                </a:buClr>
                <a:buSzPts val="1400"/>
                <a:buFont typeface="Verdana"/>
                <a:buNone/>
              </a:pPr>
              <a:r>
                <a:rPr lang="en-US" sz="1400" dirty="0">
                  <a:solidFill>
                    <a:schemeClr val="dk1"/>
                  </a:solidFill>
                  <a:latin typeface="Verdana"/>
                  <a:ea typeface="Verdana"/>
                  <a:cs typeface="Verdana"/>
                  <a:sym typeface="Verdana"/>
                </a:rPr>
                <a:t>Currently, there are many potential barriers for neurodivergent people to work in the corporate workplace environment. They are not easily welcomed due to lack of tools and available resources to communicate or understand things efficiently.</a:t>
              </a:r>
              <a:endParaRPr dirty="0"/>
            </a:p>
          </p:txBody>
        </p:sp>
        <p:sp>
          <p:nvSpPr>
            <p:cNvPr id="22" name="Google Shape;489;p5">
              <a:extLst>
                <a:ext uri="{FF2B5EF4-FFF2-40B4-BE49-F238E27FC236}">
                  <a16:creationId xmlns:a16="http://schemas.microsoft.com/office/drawing/2014/main" xmlns="" id="{52D45880-FF64-4D4A-B98C-21CEFAB87F3D}"/>
                </a:ext>
              </a:extLst>
            </p:cNvPr>
            <p:cNvSpPr/>
            <p:nvPr/>
          </p:nvSpPr>
          <p:spPr>
            <a:xfrm>
              <a:off x="0" y="2606992"/>
              <a:ext cx="8748713" cy="1117282"/>
            </a:xfrm>
            <a:prstGeom prst="roundRect">
              <a:avLst>
                <a:gd name="adj" fmla="val 10000"/>
              </a:avLst>
            </a:prstGeom>
            <a:solidFill>
              <a:srgbClr val="C9E3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90;p5">
              <a:extLst>
                <a:ext uri="{FF2B5EF4-FFF2-40B4-BE49-F238E27FC236}">
                  <a16:creationId xmlns:a16="http://schemas.microsoft.com/office/drawing/2014/main" xmlns="" id="{675E5010-CD38-49A9-AA42-A11B9990F363}"/>
                </a:ext>
              </a:extLst>
            </p:cNvPr>
            <p:cNvSpPr/>
            <p:nvPr/>
          </p:nvSpPr>
          <p:spPr>
            <a:xfrm>
              <a:off x="337977" y="2879164"/>
              <a:ext cx="614505" cy="614505"/>
            </a:xfrm>
            <a:prstGeom prst="rect">
              <a:avLst/>
            </a:prstGeom>
            <a:blipFill rotWithShape="1">
              <a:blip r:embed="rId3">
                <a:alphaModFix/>
              </a:blip>
              <a:stretch>
                <a:fillRect l="-38998" r="-38997"/>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91;p5">
              <a:extLst>
                <a:ext uri="{FF2B5EF4-FFF2-40B4-BE49-F238E27FC236}">
                  <a16:creationId xmlns:a16="http://schemas.microsoft.com/office/drawing/2014/main" xmlns="" id="{713D9B6C-43E4-4E84-AACF-2E0C16D6BA02}"/>
                </a:ext>
              </a:extLst>
            </p:cNvPr>
            <p:cNvSpPr/>
            <p:nvPr/>
          </p:nvSpPr>
          <p:spPr>
            <a:xfrm>
              <a:off x="1290461" y="2606992"/>
              <a:ext cx="7458251" cy="1117282"/>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2;p5">
              <a:extLst>
                <a:ext uri="{FF2B5EF4-FFF2-40B4-BE49-F238E27FC236}">
                  <a16:creationId xmlns:a16="http://schemas.microsoft.com/office/drawing/2014/main" xmlns="" id="{47BA3C89-A9FC-4942-BBC6-FFE0723D70C0}"/>
                </a:ext>
              </a:extLst>
            </p:cNvPr>
            <p:cNvSpPr txBox="1"/>
            <p:nvPr/>
          </p:nvSpPr>
          <p:spPr>
            <a:xfrm>
              <a:off x="1290461" y="2606992"/>
              <a:ext cx="7458251" cy="1117282"/>
            </a:xfrm>
            <a:prstGeom prst="rect">
              <a:avLst/>
            </a:prstGeom>
            <a:noFill/>
            <a:ln>
              <a:noFill/>
            </a:ln>
          </p:spPr>
          <p:txBody>
            <a:bodyPr spcFirstLastPara="1" wrap="square" lIns="118225" tIns="118225" rIns="118225" bIns="118225" anchor="ctr" anchorCtr="0">
              <a:noAutofit/>
            </a:bodyPr>
            <a:lstStyle/>
            <a:p>
              <a:pPr marL="0" marR="0" lvl="0" indent="0" algn="just" rtl="0">
                <a:lnSpc>
                  <a:spcPct val="100000"/>
                </a:lnSpc>
                <a:spcBef>
                  <a:spcPts val="0"/>
                </a:spcBef>
                <a:spcAft>
                  <a:spcPts val="0"/>
                </a:spcAft>
                <a:buClr>
                  <a:schemeClr val="dk1"/>
                </a:buClr>
                <a:buSzPts val="1400"/>
                <a:buFont typeface="Verdana"/>
                <a:buNone/>
              </a:pPr>
              <a:r>
                <a:rPr lang="en-US" sz="1400" dirty="0">
                  <a:solidFill>
                    <a:schemeClr val="dk1"/>
                  </a:solidFill>
                  <a:latin typeface="Verdana"/>
                  <a:ea typeface="Verdana"/>
                  <a:cs typeface="Verdana"/>
                  <a:sym typeface="Verdana"/>
                </a:rPr>
                <a:t>Our idea here is to come up with a concept tool having accessibility features that will focus on the removal of potential barriers such that neurodivergent people can contribute in the workplace, with their skillset bypassing those barriers.</a:t>
              </a:r>
              <a:endParaRPr dirty="0"/>
            </a:p>
          </p:txBody>
        </p:sp>
      </p:grpSp>
      <p:pic>
        <p:nvPicPr>
          <p:cNvPr id="28" name="Google Shape;495;p5" descr="Diagram&#10;&#10;Description automatically generated">
            <a:extLst>
              <a:ext uri="{FF2B5EF4-FFF2-40B4-BE49-F238E27FC236}">
                <a16:creationId xmlns:a16="http://schemas.microsoft.com/office/drawing/2014/main" xmlns="" id="{32D1D3C8-11E7-48DC-BA4A-00F9F00E7B12}"/>
              </a:ext>
            </a:extLst>
          </p:cNvPr>
          <p:cNvPicPr preferRelativeResize="0"/>
          <p:nvPr/>
        </p:nvPicPr>
        <p:blipFill rotWithShape="1">
          <a:blip r:embed="rId4">
            <a:alphaModFix/>
          </a:blip>
          <a:srcRect/>
          <a:stretch/>
        </p:blipFill>
        <p:spPr>
          <a:xfrm>
            <a:off x="3215680" y="2819400"/>
            <a:ext cx="4221815" cy="1849992"/>
          </a:xfrm>
          <a:prstGeom prst="rect">
            <a:avLst/>
          </a:prstGeom>
          <a:noFill/>
          <a:ln>
            <a:noFill/>
          </a:ln>
        </p:spPr>
      </p:pic>
      <p:pic>
        <p:nvPicPr>
          <p:cNvPr id="29" name="Google Shape;496;p5" descr="image010">
            <a:extLst>
              <a:ext uri="{FF2B5EF4-FFF2-40B4-BE49-F238E27FC236}">
                <a16:creationId xmlns:a16="http://schemas.microsoft.com/office/drawing/2014/main" xmlns="" id="{4BC45F9E-C89C-4BD5-8933-8E1BC5079D85}"/>
              </a:ext>
            </a:extLst>
          </p:cNvPr>
          <p:cNvPicPr preferRelativeResize="0"/>
          <p:nvPr/>
        </p:nvPicPr>
        <p:blipFill rotWithShape="1">
          <a:blip r:embed="rId5">
            <a:alphaModFix/>
          </a:blip>
          <a:srcRect/>
          <a:stretch/>
        </p:blipFill>
        <p:spPr>
          <a:xfrm>
            <a:off x="7824192" y="2819400"/>
            <a:ext cx="3528392" cy="1473695"/>
          </a:xfrm>
          <a:prstGeom prst="rect">
            <a:avLst/>
          </a:prstGeom>
          <a:noFill/>
          <a:ln>
            <a:noFill/>
          </a:ln>
        </p:spPr>
      </p:pic>
      <p:sp>
        <p:nvSpPr>
          <p:cNvPr id="30" name="TextBox 29">
            <a:extLst>
              <a:ext uri="{FF2B5EF4-FFF2-40B4-BE49-F238E27FC236}">
                <a16:creationId xmlns:a16="http://schemas.microsoft.com/office/drawing/2014/main" xmlns="" id="{8217E035-E355-4892-9E3B-4CAF0500172E}"/>
              </a:ext>
            </a:extLst>
          </p:cNvPr>
          <p:cNvSpPr txBox="1"/>
          <p:nvPr/>
        </p:nvSpPr>
        <p:spPr>
          <a:xfrm>
            <a:off x="7861239" y="4422372"/>
            <a:ext cx="4067409" cy="307777"/>
          </a:xfrm>
          <a:prstGeom prst="rect">
            <a:avLst/>
          </a:prstGeom>
          <a:noFill/>
        </p:spPr>
        <p:txBody>
          <a:bodyPr wrap="square">
            <a:spAutoFit/>
          </a:bodyPr>
          <a:lstStyle/>
          <a:p>
            <a:pPr marL="457200" marR="0" lvl="0" indent="0" algn="l" rtl="0">
              <a:spcBef>
                <a:spcPts val="0"/>
              </a:spcBef>
              <a:spcAft>
                <a:spcPts val="0"/>
              </a:spcAft>
              <a:buNone/>
            </a:pPr>
            <a:r>
              <a:rPr lang="en-IN" sz="1400" dirty="0">
                <a:solidFill>
                  <a:schemeClr val="dk1"/>
                </a:solidFill>
                <a:latin typeface="Calibri"/>
                <a:ea typeface="Calibri"/>
                <a:cs typeface="Calibri"/>
                <a:sym typeface="Calibri"/>
              </a:rPr>
              <a:t>Info Source (</a:t>
            </a:r>
            <a:r>
              <a:rPr lang="en-IN" sz="1400" dirty="0" err="1">
                <a:solidFill>
                  <a:schemeClr val="dk1"/>
                </a:solidFill>
                <a:latin typeface="Calibri"/>
                <a:ea typeface="Calibri"/>
                <a:cs typeface="Calibri"/>
                <a:sym typeface="Calibri"/>
              </a:rPr>
              <a:t>Autism@Work</a:t>
            </a:r>
            <a:r>
              <a:rPr lang="en-IN" sz="1400" dirty="0">
                <a:solidFill>
                  <a:schemeClr val="dk1"/>
                </a:solidFill>
                <a:latin typeface="Calibri"/>
                <a:ea typeface="Calibri"/>
                <a:cs typeface="Calibri"/>
                <a:sym typeface="Calibri"/>
              </a:rPr>
              <a:t> Playbook)</a:t>
            </a:r>
            <a:endParaRPr lang="en-IN" sz="1400" dirty="0"/>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DE21FDD3-524F-4C0D-BF02-65AEDB035277}"/>
              </a:ext>
            </a:extLst>
          </p:cNvPr>
          <p:cNvPicPr>
            <a:picLocks noChangeAspect="1"/>
          </p:cNvPicPr>
          <p:nvPr/>
        </p:nvPicPr>
        <p:blipFill>
          <a:blip r:embed="rId2"/>
          <a:stretch>
            <a:fillRect/>
          </a:stretch>
        </p:blipFill>
        <p:spPr>
          <a:xfrm>
            <a:off x="1171575" y="908720"/>
            <a:ext cx="9748961" cy="5811167"/>
          </a:xfrm>
          <a:prstGeom prst="rect">
            <a:avLst/>
          </a:prstGeom>
        </p:spPr>
      </p:pic>
      <p:sp>
        <p:nvSpPr>
          <p:cNvPr id="4" name="TextBox 3">
            <a:extLst>
              <a:ext uri="{FF2B5EF4-FFF2-40B4-BE49-F238E27FC236}">
                <a16:creationId xmlns:a16="http://schemas.microsoft.com/office/drawing/2014/main" xmlns="" id="{3C55E415-F6A4-4794-B008-EC87896A51AC}"/>
              </a:ext>
            </a:extLst>
          </p:cNvPr>
          <p:cNvSpPr txBox="1"/>
          <p:nvPr/>
        </p:nvSpPr>
        <p:spPr>
          <a:xfrm>
            <a:off x="3476244" y="186604"/>
            <a:ext cx="7421418" cy="369332"/>
          </a:xfrm>
          <a:prstGeom prst="rect">
            <a:avLst/>
          </a:prstGeom>
          <a:noFill/>
        </p:spPr>
        <p:txBody>
          <a:bodyPr wrap="square">
            <a:spAutoFit/>
          </a:bodyPr>
          <a:lstStyle/>
          <a:p>
            <a:r>
              <a:rPr lang="en-GB" dirty="0"/>
              <a:t>Why this SCENARIO  ?   - Problem Statement</a:t>
            </a:r>
            <a:endParaRPr lang="en-IN" dirty="0"/>
          </a:p>
        </p:txBody>
      </p:sp>
    </p:spTree>
    <p:extLst>
      <p:ext uri="{BB962C8B-B14F-4D97-AF65-F5344CB8AC3E}">
        <p14:creationId xmlns:p14="http://schemas.microsoft.com/office/powerpoint/2010/main" val="1889830984"/>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xmlns="" id="{D05C1A0C-BF0D-4EF2-AC55-7BC3A6A4BC8D}"/>
              </a:ext>
            </a:extLst>
          </p:cNvPr>
          <p:cNvSpPr>
            <a:spLocks noGrp="1"/>
          </p:cNvSpPr>
          <p:nvPr>
            <p:ph type="title"/>
          </p:nvPr>
        </p:nvSpPr>
        <p:spPr/>
        <p:txBody>
          <a:bodyPr/>
          <a:lstStyle/>
          <a:p>
            <a:r>
              <a:rPr lang="en-GB" dirty="0"/>
              <a:t>Table  of contents</a:t>
            </a:r>
          </a:p>
        </p:txBody>
      </p:sp>
      <p:sp>
        <p:nvSpPr>
          <p:cNvPr id="16" name="Espace réservé du texte 15">
            <a:extLst>
              <a:ext uri="{FF2B5EF4-FFF2-40B4-BE49-F238E27FC236}">
                <a16:creationId xmlns:a16="http://schemas.microsoft.com/office/drawing/2014/main" xmlns="" id="{61F41917-DFCF-41A5-B77B-30BD2BE55868}"/>
              </a:ext>
            </a:extLst>
          </p:cNvPr>
          <p:cNvSpPr>
            <a:spLocks noGrp="1"/>
          </p:cNvSpPr>
          <p:nvPr>
            <p:ph type="body" sz="quarter" idx="12"/>
          </p:nvPr>
        </p:nvSpPr>
        <p:spPr/>
        <p:txBody>
          <a:bodyPr/>
          <a:lstStyle/>
          <a:p>
            <a:pPr marL="342900" lvl="0" indent="-342900">
              <a:buFont typeface="Arial" panose="020B0604020202020204" pitchFamily="34" charset="0"/>
              <a:buChar char="•"/>
            </a:pPr>
            <a:r>
              <a:rPr lang="en-GB" dirty="0"/>
              <a:t>Neurodiversity</a:t>
            </a:r>
          </a:p>
          <a:p>
            <a:pPr marL="342900" lvl="0" indent="-342900">
              <a:buFont typeface="Arial" panose="020B0604020202020204" pitchFamily="34" charset="0"/>
              <a:buChar char="•"/>
            </a:pPr>
            <a:r>
              <a:rPr lang="en-GB" dirty="0"/>
              <a:t>Introduction – </a:t>
            </a:r>
            <a:r>
              <a:rPr lang="en-US" sz="1600" i="1" dirty="0">
                <a:latin typeface="Verdana"/>
                <a:ea typeface="Verdana"/>
                <a:cs typeface="Verdana"/>
                <a:sym typeface="Verdana"/>
              </a:rPr>
              <a:t>The Future is Inclusive</a:t>
            </a:r>
          </a:p>
          <a:p>
            <a:pPr marL="342900" lvl="0" indent="-342900">
              <a:buFont typeface="Arial" panose="020B0604020202020204" pitchFamily="34" charset="0"/>
              <a:buChar char="•"/>
            </a:pPr>
            <a:r>
              <a:rPr lang="en-GB" dirty="0"/>
              <a:t>Tools Proposed</a:t>
            </a:r>
          </a:p>
          <a:p>
            <a:pPr marL="342900" lvl="0" indent="-342900">
              <a:buFont typeface="Arial" panose="020B0604020202020204" pitchFamily="34" charset="0"/>
              <a:buChar char="•"/>
            </a:pPr>
            <a:r>
              <a:rPr lang="en-GB" dirty="0"/>
              <a:t>Interview App</a:t>
            </a:r>
          </a:p>
          <a:p>
            <a:pPr marL="342900" lvl="0" indent="-342900">
              <a:buFont typeface="Arial" panose="020B0604020202020204" pitchFamily="34" charset="0"/>
              <a:buChar char="•"/>
            </a:pPr>
            <a:r>
              <a:rPr lang="en-GB" dirty="0"/>
              <a:t>Meeting App</a:t>
            </a:r>
          </a:p>
        </p:txBody>
      </p:sp>
      <p:pic>
        <p:nvPicPr>
          <p:cNvPr id="5" name="Picture Placeholder 4" descr="Graphical user interface, application, Teams&#10;&#10;Description automatically generated">
            <a:extLst>
              <a:ext uri="{FF2B5EF4-FFF2-40B4-BE49-F238E27FC236}">
                <a16:creationId xmlns:a16="http://schemas.microsoft.com/office/drawing/2014/main" xmlns="" id="{A8E54154-6E96-49E8-B2EE-C2CF92B3BC3C}"/>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7020" r="17020"/>
          <a:stretch>
            <a:fillRect/>
          </a:stretch>
        </p:blipFill>
        <p:spPr/>
      </p:pic>
      <p:pic>
        <p:nvPicPr>
          <p:cNvPr id="10" name="Image 3">
            <a:extLst>
              <a:ext uri="{FF2B5EF4-FFF2-40B4-BE49-F238E27FC236}">
                <a16:creationId xmlns:a16="http://schemas.microsoft.com/office/drawing/2014/main" xmlns="" id="{8E6AF989-C695-42A0-9D3C-4CDC00FFDC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03150" y="2564904"/>
            <a:ext cx="9185700" cy="6494648"/>
          </a:xfrm>
          <a:prstGeom prst="rect">
            <a:avLst/>
          </a:prstGeom>
        </p:spPr>
      </p:pic>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Two people looking at a cell phone&#10;&#10;Description automatically generated with medium confidence">
            <a:extLst>
              <a:ext uri="{FF2B5EF4-FFF2-40B4-BE49-F238E27FC236}">
                <a16:creationId xmlns:a16="http://schemas.microsoft.com/office/drawing/2014/main" xmlns="" id="{E2FC07C7-87D5-45EB-A385-3434AC43CBC2}"/>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l="30495" r="28749"/>
          <a:stretch/>
        </p:blipFill>
        <p:spPr>
          <a:xfrm>
            <a:off x="7223124" y="0"/>
            <a:ext cx="4968876" cy="6858000"/>
          </a:xfrm>
        </p:spPr>
      </p:pic>
      <p:sp>
        <p:nvSpPr>
          <p:cNvPr id="4" name="Title 3">
            <a:extLst>
              <a:ext uri="{FF2B5EF4-FFF2-40B4-BE49-F238E27FC236}">
                <a16:creationId xmlns:a16="http://schemas.microsoft.com/office/drawing/2014/main" xmlns="" id="{8BB89BED-2FA4-4A72-B91D-CED542B6BB0C}"/>
              </a:ext>
            </a:extLst>
          </p:cNvPr>
          <p:cNvSpPr>
            <a:spLocks noGrp="1"/>
          </p:cNvSpPr>
          <p:nvPr>
            <p:ph type="title"/>
          </p:nvPr>
        </p:nvSpPr>
        <p:spPr/>
        <p:txBody>
          <a:bodyPr/>
          <a:lstStyle/>
          <a:p>
            <a:r>
              <a:rPr lang="en-US" dirty="0"/>
              <a:t>Neurodiversity - Definition</a:t>
            </a:r>
            <a:r>
              <a:rPr lang="en-IN" dirty="0"/>
              <a:t/>
            </a:r>
            <a:br>
              <a:rPr lang="en-IN" dirty="0"/>
            </a:br>
            <a:endParaRPr lang="en-GB" dirty="0"/>
          </a:p>
        </p:txBody>
      </p:sp>
      <p:sp>
        <p:nvSpPr>
          <p:cNvPr id="5" name="Content Placeholder 4">
            <a:extLst>
              <a:ext uri="{FF2B5EF4-FFF2-40B4-BE49-F238E27FC236}">
                <a16:creationId xmlns:a16="http://schemas.microsoft.com/office/drawing/2014/main" xmlns="" id="{F3C66C73-6C2C-4EB1-9316-DFAB45100393}"/>
              </a:ext>
            </a:extLst>
          </p:cNvPr>
          <p:cNvSpPr>
            <a:spLocks noGrp="1"/>
          </p:cNvSpPr>
          <p:nvPr>
            <p:ph sz="half" idx="11"/>
          </p:nvPr>
        </p:nvSpPr>
        <p:spPr>
          <a:xfrm>
            <a:off x="404813" y="2924944"/>
            <a:ext cx="5784850" cy="2304255"/>
          </a:xfrm>
        </p:spPr>
        <p:txBody>
          <a:bodyPr>
            <a:normAutofit fontScale="92500" lnSpcReduction="20000"/>
          </a:bodyPr>
          <a:lstStyle/>
          <a:p>
            <a:pPr lvl="0"/>
            <a:r>
              <a:rPr lang="en-US" sz="2000" i="1" dirty="0"/>
              <a:t>It is an umbrella term that encompasses neurocognitive differences such as </a:t>
            </a:r>
            <a:r>
              <a:rPr lang="en-US" sz="2000" i="1" dirty="0">
                <a:highlight>
                  <a:srgbClr val="FFFF00"/>
                </a:highlight>
              </a:rPr>
              <a:t>autism</a:t>
            </a:r>
            <a:r>
              <a:rPr lang="en-US" sz="2000" i="1" dirty="0"/>
              <a:t>, attention deficit hyperactivity disorder (ADHD), dyslexia, Tourette’s syndrome, anxiety, obsessive-compulsive disorder, depression, intellectual disability and schizophrenia, as well as ‘normal’ neurocognitive functioning, or neurotypicality. Neurodivergent individuals are those whose brain functions differ from those who are neurologically typical, or neurotypical.</a:t>
            </a:r>
            <a:r>
              <a:rPr lang="en-GB" dirty="0"/>
              <a:t>.</a:t>
            </a:r>
          </a:p>
        </p:txBody>
      </p:sp>
      <p:sp>
        <p:nvSpPr>
          <p:cNvPr id="16" name="Graphic 1">
            <a:extLst>
              <a:ext uri="{FF2B5EF4-FFF2-40B4-BE49-F238E27FC236}">
                <a16:creationId xmlns:a16="http://schemas.microsoft.com/office/drawing/2014/main" xmlns=""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B2C0F85-30AF-4A7B-938C-24C2F464A399}"/>
              </a:ext>
            </a:extLst>
          </p:cNvPr>
          <p:cNvSpPr>
            <a:spLocks noGrp="1"/>
          </p:cNvSpPr>
          <p:nvPr>
            <p:ph type="body" sz="quarter" idx="10"/>
          </p:nvPr>
        </p:nvSpPr>
        <p:spPr/>
        <p:txBody>
          <a:bodyPr/>
          <a:lstStyle/>
          <a:p>
            <a:pPr lvl="1"/>
            <a:endParaRPr lang="en-GB" dirty="0"/>
          </a:p>
          <a:p>
            <a:endParaRPr lang="en-GB" dirty="0"/>
          </a:p>
          <a:p>
            <a:endParaRPr lang="en-GB" dirty="0"/>
          </a:p>
        </p:txBody>
      </p:sp>
      <p:sp>
        <p:nvSpPr>
          <p:cNvPr id="3" name="Title 2">
            <a:extLst>
              <a:ext uri="{FF2B5EF4-FFF2-40B4-BE49-F238E27FC236}">
                <a16:creationId xmlns:a16="http://schemas.microsoft.com/office/drawing/2014/main" xmlns="" id="{B490EBA8-8698-49C6-91C6-93EB77884919}"/>
              </a:ext>
            </a:extLst>
          </p:cNvPr>
          <p:cNvSpPr>
            <a:spLocks noGrp="1"/>
          </p:cNvSpPr>
          <p:nvPr>
            <p:ph type="title"/>
          </p:nvPr>
        </p:nvSpPr>
        <p:spPr/>
        <p:txBody>
          <a:bodyPr/>
          <a:lstStyle/>
          <a:p>
            <a:r>
              <a:rPr lang="en-GB" dirty="0"/>
              <a:t>Introduction – The Future is Inclusive</a:t>
            </a:r>
          </a:p>
        </p:txBody>
      </p:sp>
      <p:sp>
        <p:nvSpPr>
          <p:cNvPr id="24" name="Google Shape;503;p6">
            <a:extLst>
              <a:ext uri="{FF2B5EF4-FFF2-40B4-BE49-F238E27FC236}">
                <a16:creationId xmlns:a16="http://schemas.microsoft.com/office/drawing/2014/main" xmlns="" id="{A046EC5B-BE10-4005-912B-77D57143DFC5}"/>
              </a:ext>
            </a:extLst>
          </p:cNvPr>
          <p:cNvSpPr/>
          <p:nvPr/>
        </p:nvSpPr>
        <p:spPr>
          <a:xfrm>
            <a:off x="1828800" y="2282444"/>
            <a:ext cx="3382987" cy="1467491"/>
          </a:xfrm>
          <a:prstGeom prst="rect">
            <a:avLst/>
          </a:prstGeom>
          <a:solidFill>
            <a:srgbClr val="F39764">
              <a:alpha val="80000"/>
            </a:srgbClr>
          </a:solidFill>
          <a:ln w="1905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en-US" sz="1125" b="1" dirty="0">
                <a:solidFill>
                  <a:schemeClr val="dk1"/>
                </a:solidFill>
                <a:ea typeface="Verdana"/>
                <a:cs typeface="Verdana"/>
                <a:sym typeface="Verdana"/>
              </a:rPr>
              <a:t>Potential Barriers</a:t>
            </a:r>
            <a:endParaRPr dirty="0"/>
          </a:p>
          <a:p>
            <a:pPr marL="171450" marR="0" lvl="0" indent="-171450" algn="l" rtl="0">
              <a:spcBef>
                <a:spcPts val="0"/>
              </a:spcBef>
              <a:spcAft>
                <a:spcPts val="0"/>
              </a:spcAft>
              <a:buClr>
                <a:schemeClr val="dk1"/>
              </a:buClr>
              <a:buSzPts val="1125"/>
              <a:buFont typeface="Arial"/>
              <a:buChar char="•"/>
            </a:pPr>
            <a:r>
              <a:rPr lang="en-US" sz="1125" dirty="0">
                <a:solidFill>
                  <a:schemeClr val="dk1"/>
                </a:solidFill>
                <a:ea typeface="Verdana"/>
                <a:cs typeface="Verdana"/>
                <a:sym typeface="Verdana"/>
              </a:rPr>
              <a:t>Acceptibility and Trust</a:t>
            </a:r>
            <a:endParaRPr dirty="0"/>
          </a:p>
          <a:p>
            <a:pPr marL="171450" marR="0" lvl="0" indent="-171450" algn="l" rtl="0">
              <a:spcBef>
                <a:spcPts val="0"/>
              </a:spcBef>
              <a:spcAft>
                <a:spcPts val="0"/>
              </a:spcAft>
              <a:buClr>
                <a:schemeClr val="dk1"/>
              </a:buClr>
              <a:buSzPts val="1125"/>
              <a:buFont typeface="Arial"/>
              <a:buChar char="•"/>
            </a:pPr>
            <a:r>
              <a:rPr lang="en-US" sz="1125" dirty="0">
                <a:solidFill>
                  <a:schemeClr val="dk1"/>
                </a:solidFill>
                <a:ea typeface="Verdana"/>
                <a:cs typeface="Verdana"/>
                <a:sym typeface="Verdana"/>
              </a:rPr>
              <a:t>Too much information from </a:t>
            </a:r>
            <a:endParaRPr dirty="0"/>
          </a:p>
          <a:p>
            <a:pPr marL="0" marR="0" lvl="0" indent="0" algn="l" rtl="0">
              <a:spcBef>
                <a:spcPts val="0"/>
              </a:spcBef>
              <a:spcAft>
                <a:spcPts val="0"/>
              </a:spcAft>
              <a:buNone/>
            </a:pPr>
            <a:r>
              <a:rPr lang="en-US" sz="1125" dirty="0">
                <a:solidFill>
                  <a:schemeClr val="dk1"/>
                </a:solidFill>
                <a:ea typeface="Verdana"/>
                <a:cs typeface="Verdana"/>
                <a:sym typeface="Verdana"/>
              </a:rPr>
              <a:t>   diverse sources</a:t>
            </a:r>
            <a:endParaRPr dirty="0"/>
          </a:p>
          <a:p>
            <a:pPr marL="171450" marR="0" lvl="0" indent="-171450" algn="l" rtl="0">
              <a:spcBef>
                <a:spcPts val="0"/>
              </a:spcBef>
              <a:spcAft>
                <a:spcPts val="0"/>
              </a:spcAft>
              <a:buClr>
                <a:schemeClr val="dk1"/>
              </a:buClr>
              <a:buSzPts val="1125"/>
              <a:buFont typeface="Arial"/>
              <a:buChar char="•"/>
            </a:pPr>
            <a:r>
              <a:rPr lang="en-US" sz="1125" dirty="0">
                <a:solidFill>
                  <a:schemeClr val="dk1"/>
                </a:solidFill>
                <a:ea typeface="Verdana"/>
                <a:cs typeface="Verdana"/>
                <a:sym typeface="Verdana"/>
              </a:rPr>
              <a:t>Difficult to understand, read &amp; </a:t>
            </a:r>
            <a:endParaRPr dirty="0"/>
          </a:p>
          <a:p>
            <a:pPr marL="0" marR="0" lvl="0" indent="0" algn="l" rtl="0">
              <a:spcBef>
                <a:spcPts val="0"/>
              </a:spcBef>
              <a:spcAft>
                <a:spcPts val="0"/>
              </a:spcAft>
              <a:buNone/>
            </a:pPr>
            <a:r>
              <a:rPr lang="en-US" sz="1125" dirty="0">
                <a:solidFill>
                  <a:schemeClr val="dk1"/>
                </a:solidFill>
                <a:ea typeface="Verdana"/>
                <a:cs typeface="Verdana"/>
                <a:sym typeface="Verdana"/>
              </a:rPr>
              <a:t>analyze complex data.</a:t>
            </a:r>
            <a:endParaRPr dirty="0"/>
          </a:p>
          <a:p>
            <a:pPr marL="171450" marR="0" lvl="0" indent="-171450" algn="l" rtl="0">
              <a:spcBef>
                <a:spcPts val="0"/>
              </a:spcBef>
              <a:spcAft>
                <a:spcPts val="0"/>
              </a:spcAft>
              <a:buClr>
                <a:schemeClr val="dk1"/>
              </a:buClr>
              <a:buSzPts val="1125"/>
              <a:buFont typeface="Arial"/>
              <a:buChar char="•"/>
            </a:pPr>
            <a:r>
              <a:rPr lang="en-US" sz="1125" dirty="0">
                <a:solidFill>
                  <a:schemeClr val="dk1"/>
                </a:solidFill>
                <a:ea typeface="Verdana"/>
                <a:cs typeface="Verdana"/>
                <a:sym typeface="Verdana"/>
              </a:rPr>
              <a:t>Difficult to adapt to </a:t>
            </a:r>
            <a:endParaRPr dirty="0"/>
          </a:p>
          <a:p>
            <a:pPr marL="0" marR="0" lvl="0" indent="0" algn="l" rtl="0">
              <a:spcBef>
                <a:spcPts val="0"/>
              </a:spcBef>
              <a:spcAft>
                <a:spcPts val="0"/>
              </a:spcAft>
              <a:buNone/>
            </a:pPr>
            <a:r>
              <a:rPr lang="en-US" sz="1125" dirty="0">
                <a:solidFill>
                  <a:schemeClr val="dk1"/>
                </a:solidFill>
                <a:ea typeface="Verdana"/>
                <a:cs typeface="Verdana"/>
                <a:sym typeface="Verdana"/>
              </a:rPr>
              <a:t>unpredictable scenarios.</a:t>
            </a:r>
            <a:endParaRPr dirty="0"/>
          </a:p>
          <a:p>
            <a:pPr marL="171450" marR="0" lvl="0" indent="-100012" algn="l" rtl="0">
              <a:spcBef>
                <a:spcPts val="0"/>
              </a:spcBef>
              <a:spcAft>
                <a:spcPts val="0"/>
              </a:spcAft>
              <a:buClr>
                <a:schemeClr val="dk1"/>
              </a:buClr>
              <a:buSzPts val="1125"/>
              <a:buFont typeface="Arial"/>
              <a:buNone/>
            </a:pPr>
            <a:endParaRPr sz="1125" dirty="0">
              <a:solidFill>
                <a:schemeClr val="dk1"/>
              </a:solidFill>
              <a:latin typeface="Verdana"/>
              <a:ea typeface="Verdana"/>
              <a:cs typeface="Verdana"/>
              <a:sym typeface="Verdana"/>
            </a:endParaRPr>
          </a:p>
          <a:p>
            <a:pPr marL="171450" marR="0" lvl="0" indent="-100012" algn="l" rtl="0">
              <a:spcBef>
                <a:spcPts val="0"/>
              </a:spcBef>
              <a:spcAft>
                <a:spcPts val="0"/>
              </a:spcAft>
              <a:buClr>
                <a:schemeClr val="dk1"/>
              </a:buClr>
              <a:buSzPts val="1125"/>
              <a:buFont typeface="Arial"/>
              <a:buNone/>
            </a:pPr>
            <a:endParaRPr sz="1125" dirty="0">
              <a:solidFill>
                <a:schemeClr val="dk1"/>
              </a:solidFill>
              <a:latin typeface="Verdana"/>
              <a:ea typeface="Verdana"/>
              <a:cs typeface="Verdana"/>
              <a:sym typeface="Verdana"/>
            </a:endParaRPr>
          </a:p>
        </p:txBody>
      </p:sp>
      <p:sp>
        <p:nvSpPr>
          <p:cNvPr id="25" name="Google Shape;504;p6">
            <a:extLst>
              <a:ext uri="{FF2B5EF4-FFF2-40B4-BE49-F238E27FC236}">
                <a16:creationId xmlns:a16="http://schemas.microsoft.com/office/drawing/2014/main" xmlns="" id="{8D7B2777-510E-4E99-BA3C-21C6BFB953FB}"/>
              </a:ext>
            </a:extLst>
          </p:cNvPr>
          <p:cNvSpPr/>
          <p:nvPr/>
        </p:nvSpPr>
        <p:spPr>
          <a:xfrm>
            <a:off x="4414562" y="3749935"/>
            <a:ext cx="1736465" cy="1736465"/>
          </a:xfrm>
          <a:custGeom>
            <a:avLst/>
            <a:gdLst/>
            <a:ahLst/>
            <a:cxnLst/>
            <a:rect l="l" t="t" r="r" b="b"/>
            <a:pathLst>
              <a:path w="13488" h="13489" extrusionOk="0">
                <a:moveTo>
                  <a:pt x="13488" y="13489"/>
                </a:moveTo>
                <a:cubicBezTo>
                  <a:pt x="6039" y="13489"/>
                  <a:pt x="0" y="7450"/>
                  <a:pt x="0" y="0"/>
                </a:cubicBezTo>
                <a:lnTo>
                  <a:pt x="13488" y="0"/>
                </a:lnTo>
                <a:lnTo>
                  <a:pt x="13488" y="13489"/>
                </a:lnTo>
                <a:close/>
              </a:path>
            </a:pathLst>
          </a:custGeom>
          <a:solidFill>
            <a:srgbClr val="A626AA"/>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575">
              <a:solidFill>
                <a:schemeClr val="dk1"/>
              </a:solidFill>
              <a:latin typeface="Verdana"/>
              <a:ea typeface="Verdana"/>
              <a:cs typeface="Verdana"/>
              <a:sym typeface="Verdana"/>
            </a:endParaRPr>
          </a:p>
        </p:txBody>
      </p:sp>
      <p:sp>
        <p:nvSpPr>
          <p:cNvPr id="26" name="Google Shape;505;p6">
            <a:extLst>
              <a:ext uri="{FF2B5EF4-FFF2-40B4-BE49-F238E27FC236}">
                <a16:creationId xmlns:a16="http://schemas.microsoft.com/office/drawing/2014/main" xmlns="" id="{01D709ED-3CE7-477D-8A86-6BAB5D924CE8}"/>
              </a:ext>
            </a:extLst>
          </p:cNvPr>
          <p:cNvSpPr/>
          <p:nvPr/>
        </p:nvSpPr>
        <p:spPr>
          <a:xfrm>
            <a:off x="4414562" y="2013470"/>
            <a:ext cx="1736465" cy="1736465"/>
          </a:xfrm>
          <a:custGeom>
            <a:avLst/>
            <a:gdLst/>
            <a:ahLst/>
            <a:cxnLst/>
            <a:rect l="l" t="t" r="r" b="b"/>
            <a:pathLst>
              <a:path w="13488" h="13488" extrusionOk="0">
                <a:moveTo>
                  <a:pt x="0" y="13488"/>
                </a:moveTo>
                <a:cubicBezTo>
                  <a:pt x="0" y="6039"/>
                  <a:pt x="6039" y="0"/>
                  <a:pt x="13488" y="0"/>
                </a:cubicBezTo>
                <a:lnTo>
                  <a:pt x="13488" y="13488"/>
                </a:lnTo>
                <a:lnTo>
                  <a:pt x="0" y="13488"/>
                </a:lnTo>
                <a:close/>
              </a:path>
            </a:pathLst>
          </a:custGeom>
          <a:solidFill>
            <a:srgbClr val="FF6B1F"/>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575">
              <a:solidFill>
                <a:schemeClr val="dk1"/>
              </a:solidFill>
              <a:latin typeface="Verdana"/>
              <a:ea typeface="Verdana"/>
              <a:cs typeface="Verdana"/>
              <a:sym typeface="Verdana"/>
            </a:endParaRPr>
          </a:p>
        </p:txBody>
      </p:sp>
      <p:sp>
        <p:nvSpPr>
          <p:cNvPr id="27" name="Google Shape;506;p6">
            <a:extLst>
              <a:ext uri="{FF2B5EF4-FFF2-40B4-BE49-F238E27FC236}">
                <a16:creationId xmlns:a16="http://schemas.microsoft.com/office/drawing/2014/main" xmlns="" id="{40ED1CBF-BD26-4DCB-822F-562B0F258190}"/>
              </a:ext>
            </a:extLst>
          </p:cNvPr>
          <p:cNvSpPr/>
          <p:nvPr/>
        </p:nvSpPr>
        <p:spPr>
          <a:xfrm>
            <a:off x="7084987" y="2282444"/>
            <a:ext cx="3382987" cy="1467491"/>
          </a:xfrm>
          <a:prstGeom prst="rect">
            <a:avLst/>
          </a:prstGeom>
          <a:solidFill>
            <a:srgbClr val="0066A1">
              <a:alpha val="49803"/>
            </a:srgbClr>
          </a:solidFill>
          <a:ln w="1905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indent="0">
              <a:buNone/>
            </a:pPr>
            <a:r>
              <a:rPr lang="en-US" sz="1125" b="1" dirty="0">
                <a:solidFill>
                  <a:schemeClr val="dk1"/>
                </a:solidFill>
                <a:latin typeface="Verdana"/>
                <a:ea typeface="Verdana"/>
                <a:cs typeface="Verdana"/>
                <a:sym typeface="Verdana"/>
              </a:rPr>
              <a:t>     </a:t>
            </a:r>
            <a:r>
              <a:rPr lang="en-US" sz="1125" b="1" dirty="0">
                <a:solidFill>
                  <a:schemeClr val="dk1"/>
                </a:solidFill>
                <a:ea typeface="Verdana"/>
                <a:cs typeface="Verdana"/>
                <a:sym typeface="Verdana"/>
              </a:rPr>
              <a:t>Our Solution</a:t>
            </a:r>
            <a:endParaRPr sz="1125" b="1" dirty="0">
              <a:solidFill>
                <a:schemeClr val="dk1"/>
              </a:solidFill>
              <a:ea typeface="Verdana"/>
              <a:cs typeface="Verdana"/>
            </a:endParaRPr>
          </a:p>
          <a:p>
            <a:pPr marL="0" indent="0">
              <a:buNone/>
            </a:pPr>
            <a:r>
              <a:rPr lang="en-US" sz="1125" dirty="0">
                <a:solidFill>
                  <a:schemeClr val="dk1"/>
                </a:solidFill>
                <a:ea typeface="Verdana"/>
                <a:cs typeface="Verdana"/>
                <a:sym typeface="Verdana"/>
              </a:rPr>
              <a:t>         Web and mobile based App</a:t>
            </a:r>
            <a:endParaRPr sz="1125" dirty="0">
              <a:solidFill>
                <a:schemeClr val="dk1"/>
              </a:solidFill>
              <a:ea typeface="Verdana"/>
              <a:cs typeface="Verdana"/>
            </a:endParaRPr>
          </a:p>
          <a:p>
            <a:pPr marL="0" indent="0">
              <a:buNone/>
            </a:pPr>
            <a:r>
              <a:rPr lang="en-US" sz="1125" dirty="0">
                <a:solidFill>
                  <a:schemeClr val="dk1"/>
                </a:solidFill>
                <a:ea typeface="Verdana"/>
                <a:cs typeface="Verdana"/>
                <a:sym typeface="Verdana"/>
              </a:rPr>
              <a:t>              </a:t>
            </a:r>
            <a:r>
              <a:rPr lang="en-US" sz="1125" b="1" dirty="0">
                <a:solidFill>
                  <a:schemeClr val="dk1"/>
                </a:solidFill>
                <a:ea typeface="Verdana"/>
                <a:cs typeface="Verdana"/>
                <a:sym typeface="Verdana"/>
              </a:rPr>
              <a:t>Salient Features</a:t>
            </a:r>
            <a:endParaRPr sz="1125" b="1" dirty="0">
              <a:solidFill>
                <a:schemeClr val="dk1"/>
              </a:solidFill>
              <a:ea typeface="Verdana"/>
              <a:cs typeface="Verdana"/>
            </a:endParaRPr>
          </a:p>
          <a:p>
            <a:pPr marL="171450" indent="-171450">
              <a:buClr>
                <a:schemeClr val="dk1"/>
              </a:buClr>
              <a:buSzPts val="1125"/>
              <a:buFont typeface="Arial"/>
              <a:buChar char="•"/>
            </a:pPr>
            <a:r>
              <a:rPr lang="en-US" sz="1125" dirty="0">
                <a:solidFill>
                  <a:schemeClr val="dk1"/>
                </a:solidFill>
                <a:ea typeface="Verdana"/>
                <a:cs typeface="Verdana"/>
                <a:sym typeface="Verdana"/>
              </a:rPr>
              <a:t>           Inclusive and minimalistic design</a:t>
            </a:r>
            <a:endParaRPr sz="1125" dirty="0">
              <a:solidFill>
                <a:schemeClr val="dk1"/>
              </a:solidFill>
              <a:ea typeface="Verdana"/>
              <a:cs typeface="Verdana"/>
            </a:endParaRPr>
          </a:p>
          <a:p>
            <a:pPr marL="1085850" indent="-171450">
              <a:buClr>
                <a:schemeClr val="dk1"/>
              </a:buClr>
              <a:buSzPts val="1125"/>
              <a:buFont typeface="Arial"/>
              <a:buChar char="•"/>
            </a:pPr>
            <a:r>
              <a:rPr lang="en-US" sz="1125" dirty="0">
                <a:solidFill>
                  <a:schemeClr val="dk1"/>
                </a:solidFill>
                <a:ea typeface="Verdana"/>
                <a:cs typeface="Verdana"/>
                <a:sym typeface="Verdana"/>
              </a:rPr>
              <a:t>Inclusive Caption for voice to text conversion</a:t>
            </a:r>
            <a:endParaRPr sz="1125" dirty="0">
              <a:solidFill>
                <a:schemeClr val="dk1"/>
              </a:solidFill>
              <a:ea typeface="Verdana"/>
              <a:cs typeface="Verdana"/>
            </a:endParaRPr>
          </a:p>
          <a:p>
            <a:pPr marL="1085850" indent="-171450">
              <a:buClr>
                <a:schemeClr val="dk1"/>
              </a:buClr>
              <a:buSzPts val="1125"/>
              <a:buFont typeface="Arial"/>
              <a:buChar char="•"/>
            </a:pPr>
            <a:r>
              <a:rPr lang="en-US" sz="1125" dirty="0">
                <a:solidFill>
                  <a:schemeClr val="dk1"/>
                </a:solidFill>
                <a:ea typeface="Verdana"/>
                <a:cs typeface="Verdana"/>
                <a:sym typeface="Verdana"/>
              </a:rPr>
              <a:t>Suggestive text/reply using Machine learning</a:t>
            </a:r>
            <a:endParaRPr sz="1125" dirty="0">
              <a:solidFill>
                <a:schemeClr val="dk1"/>
              </a:solidFill>
              <a:ea typeface="Verdana"/>
              <a:cs typeface="Verdana"/>
            </a:endParaRPr>
          </a:p>
          <a:p>
            <a:pPr marL="0" marR="0" lvl="0" indent="0" algn="r" rtl="0">
              <a:spcBef>
                <a:spcPts val="0"/>
              </a:spcBef>
              <a:spcAft>
                <a:spcPts val="0"/>
              </a:spcAft>
              <a:buNone/>
            </a:pPr>
            <a:endParaRPr sz="1125" b="1" dirty="0">
              <a:solidFill>
                <a:schemeClr val="dk1"/>
              </a:solidFill>
              <a:latin typeface="Verdana"/>
              <a:ea typeface="Verdana"/>
              <a:cs typeface="Verdana"/>
              <a:sym typeface="Verdana"/>
            </a:endParaRPr>
          </a:p>
          <a:p>
            <a:pPr marL="0" marR="0" lvl="0" indent="0" algn="r" rtl="0">
              <a:spcBef>
                <a:spcPts val="0"/>
              </a:spcBef>
              <a:spcAft>
                <a:spcPts val="0"/>
              </a:spcAft>
              <a:buNone/>
            </a:pPr>
            <a:endParaRPr sz="1125" b="1" dirty="0">
              <a:solidFill>
                <a:schemeClr val="dk1"/>
              </a:solidFill>
              <a:latin typeface="Verdana"/>
              <a:ea typeface="Verdana"/>
              <a:cs typeface="Verdana"/>
              <a:sym typeface="Verdana"/>
            </a:endParaRPr>
          </a:p>
        </p:txBody>
      </p:sp>
      <p:sp>
        <p:nvSpPr>
          <p:cNvPr id="28" name="Google Shape;507;p6">
            <a:extLst>
              <a:ext uri="{FF2B5EF4-FFF2-40B4-BE49-F238E27FC236}">
                <a16:creationId xmlns:a16="http://schemas.microsoft.com/office/drawing/2014/main" xmlns="" id="{9651B9BC-7792-4873-8B9E-FA8FB0BF67B0}"/>
              </a:ext>
            </a:extLst>
          </p:cNvPr>
          <p:cNvSpPr/>
          <p:nvPr/>
        </p:nvSpPr>
        <p:spPr>
          <a:xfrm>
            <a:off x="6151026" y="2013470"/>
            <a:ext cx="1737536" cy="1736465"/>
          </a:xfrm>
          <a:custGeom>
            <a:avLst/>
            <a:gdLst/>
            <a:ahLst/>
            <a:cxnLst/>
            <a:rect l="l" t="t" r="r" b="b"/>
            <a:pathLst>
              <a:path w="6745" h="6744" extrusionOk="0">
                <a:moveTo>
                  <a:pt x="0" y="0"/>
                </a:moveTo>
                <a:cubicBezTo>
                  <a:pt x="3725" y="0"/>
                  <a:pt x="6745" y="3020"/>
                  <a:pt x="6745" y="6744"/>
                </a:cubicBezTo>
                <a:lnTo>
                  <a:pt x="0" y="6744"/>
                </a:lnTo>
                <a:lnTo>
                  <a:pt x="0" y="0"/>
                </a:lnTo>
                <a:close/>
              </a:path>
            </a:pathLst>
          </a:custGeom>
          <a:solidFill>
            <a:srgbClr val="0066A1"/>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575">
              <a:solidFill>
                <a:schemeClr val="dk1"/>
              </a:solidFill>
              <a:latin typeface="Verdana"/>
              <a:ea typeface="Verdana"/>
              <a:cs typeface="Verdana"/>
              <a:sym typeface="Verdana"/>
            </a:endParaRPr>
          </a:p>
        </p:txBody>
      </p:sp>
      <p:sp>
        <p:nvSpPr>
          <p:cNvPr id="29" name="Google Shape;508;p6">
            <a:extLst>
              <a:ext uri="{FF2B5EF4-FFF2-40B4-BE49-F238E27FC236}">
                <a16:creationId xmlns:a16="http://schemas.microsoft.com/office/drawing/2014/main" xmlns="" id="{F8C40EDB-3189-4E7A-B829-E19BFA7EDA15}"/>
              </a:ext>
            </a:extLst>
          </p:cNvPr>
          <p:cNvSpPr/>
          <p:nvPr/>
        </p:nvSpPr>
        <p:spPr>
          <a:xfrm>
            <a:off x="7084987" y="3749935"/>
            <a:ext cx="3382987" cy="1467491"/>
          </a:xfrm>
          <a:prstGeom prst="rect">
            <a:avLst/>
          </a:prstGeom>
          <a:solidFill>
            <a:srgbClr val="00B9AF">
              <a:alpha val="60000"/>
            </a:srgbClr>
          </a:solidFill>
          <a:ln w="1905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171450">
              <a:spcBef>
                <a:spcPts val="0"/>
              </a:spcBef>
              <a:spcAft>
                <a:spcPts val="0"/>
              </a:spcAft>
              <a:buClr>
                <a:schemeClr val="dk1"/>
              </a:buClr>
              <a:buSzPts val="1125"/>
              <a:buFont typeface="Arial"/>
              <a:buChar char="•"/>
            </a:pPr>
            <a:r>
              <a:rPr lang="en-US" sz="1125" b="1" dirty="0">
                <a:solidFill>
                  <a:schemeClr val="dk1"/>
                </a:solidFill>
                <a:latin typeface="Verdana"/>
                <a:ea typeface="Verdana"/>
                <a:cs typeface="Verdana"/>
                <a:sym typeface="Verdana"/>
              </a:rPr>
              <a:t>             </a:t>
            </a:r>
            <a:r>
              <a:rPr lang="en-US" sz="1125" b="1" dirty="0">
                <a:solidFill>
                  <a:schemeClr val="dk1"/>
                </a:solidFill>
                <a:ea typeface="Verdana"/>
                <a:cs typeface="Verdana"/>
                <a:sym typeface="Verdana"/>
              </a:rPr>
              <a:t>Value Proposition</a:t>
            </a:r>
            <a:endParaRPr sz="1125" b="1" dirty="0">
              <a:solidFill>
                <a:schemeClr val="dk1"/>
              </a:solidFill>
              <a:ea typeface="Verdana"/>
              <a:cs typeface="Verdana"/>
            </a:endParaRPr>
          </a:p>
          <a:p>
            <a:pPr marL="895350" marR="0" lvl="0" indent="-171450">
              <a:spcBef>
                <a:spcPts val="0"/>
              </a:spcBef>
              <a:spcAft>
                <a:spcPts val="0"/>
              </a:spcAft>
              <a:buClr>
                <a:schemeClr val="dk1"/>
              </a:buClr>
              <a:buSzPts val="1125"/>
              <a:buFont typeface="Arial"/>
              <a:buChar char="•"/>
            </a:pPr>
            <a:r>
              <a:rPr lang="en-US" sz="1125" dirty="0">
                <a:solidFill>
                  <a:schemeClr val="dk1"/>
                </a:solidFill>
                <a:ea typeface="Verdana"/>
                <a:cs typeface="Verdana"/>
                <a:sym typeface="Verdana"/>
              </a:rPr>
              <a:t>Companies can hire resources without compromising on quality.</a:t>
            </a:r>
            <a:endParaRPr sz="1125" dirty="0">
              <a:solidFill>
                <a:schemeClr val="dk1"/>
              </a:solidFill>
              <a:ea typeface="Verdana"/>
              <a:cs typeface="Verdana"/>
            </a:endParaRPr>
          </a:p>
          <a:p>
            <a:pPr marL="895350" marR="0" lvl="0" indent="-171450">
              <a:spcBef>
                <a:spcPts val="0"/>
              </a:spcBef>
              <a:spcAft>
                <a:spcPts val="0"/>
              </a:spcAft>
              <a:buClr>
                <a:schemeClr val="dk1"/>
              </a:buClr>
              <a:buSzPts val="1125"/>
              <a:buFont typeface="Arial"/>
              <a:buChar char="•"/>
            </a:pPr>
            <a:r>
              <a:rPr lang="en-US" sz="1125" dirty="0">
                <a:solidFill>
                  <a:schemeClr val="dk1"/>
                </a:solidFill>
                <a:ea typeface="Verdana"/>
                <a:cs typeface="Verdana"/>
                <a:sym typeface="Verdana"/>
              </a:rPr>
              <a:t>Better intra and inter team interaction not only within organization but with Customers and Vendors as well</a:t>
            </a:r>
            <a:endParaRPr sz="1125" dirty="0">
              <a:solidFill>
                <a:schemeClr val="dk1"/>
              </a:solidFill>
              <a:ea typeface="Verdana"/>
              <a:cs typeface="Verdana"/>
            </a:endParaRPr>
          </a:p>
          <a:p>
            <a:pPr marL="0" marR="0" lvl="0" indent="-171450">
              <a:spcBef>
                <a:spcPts val="0"/>
              </a:spcBef>
              <a:spcAft>
                <a:spcPts val="0"/>
              </a:spcAft>
              <a:buClr>
                <a:schemeClr val="dk1"/>
              </a:buClr>
              <a:buSzPts val="1125"/>
              <a:buFont typeface="Arial"/>
              <a:buChar char="•"/>
            </a:pPr>
            <a:endParaRPr sz="1125" dirty="0">
              <a:solidFill>
                <a:schemeClr val="dk1"/>
              </a:solidFill>
              <a:ea typeface="Verdana"/>
              <a:cs typeface="Verdana"/>
              <a:sym typeface="Verdana"/>
            </a:endParaRPr>
          </a:p>
          <a:p>
            <a:pPr marL="0" marR="0" lvl="0" indent="0" algn="l" rtl="0">
              <a:spcBef>
                <a:spcPts val="0"/>
              </a:spcBef>
              <a:spcAft>
                <a:spcPts val="0"/>
              </a:spcAft>
              <a:buNone/>
            </a:pPr>
            <a:r>
              <a:rPr lang="en-US" sz="1125" b="1" dirty="0">
                <a:solidFill>
                  <a:schemeClr val="dk1"/>
                </a:solidFill>
                <a:latin typeface="Verdana"/>
                <a:ea typeface="Verdana"/>
                <a:cs typeface="Verdana"/>
                <a:sym typeface="Verdana"/>
              </a:rPr>
              <a:t> </a:t>
            </a:r>
            <a:endParaRPr dirty="0"/>
          </a:p>
          <a:p>
            <a:pPr marL="0" marR="0" lvl="0" indent="0" algn="l" rtl="0">
              <a:spcBef>
                <a:spcPts val="0"/>
              </a:spcBef>
              <a:spcAft>
                <a:spcPts val="0"/>
              </a:spcAft>
              <a:buNone/>
            </a:pPr>
            <a:endParaRPr sz="1125" b="1" dirty="0">
              <a:solidFill>
                <a:schemeClr val="dk1"/>
              </a:solidFill>
              <a:latin typeface="Verdana"/>
              <a:ea typeface="Verdana"/>
              <a:cs typeface="Verdana"/>
              <a:sym typeface="Verdana"/>
            </a:endParaRPr>
          </a:p>
        </p:txBody>
      </p:sp>
      <p:sp>
        <p:nvSpPr>
          <p:cNvPr id="30" name="Google Shape;509;p6">
            <a:extLst>
              <a:ext uri="{FF2B5EF4-FFF2-40B4-BE49-F238E27FC236}">
                <a16:creationId xmlns:a16="http://schemas.microsoft.com/office/drawing/2014/main" xmlns="" id="{CB485996-C1E3-4BF1-97D9-F131E11CE401}"/>
              </a:ext>
            </a:extLst>
          </p:cNvPr>
          <p:cNvSpPr/>
          <p:nvPr/>
        </p:nvSpPr>
        <p:spPr>
          <a:xfrm>
            <a:off x="6149956" y="3736957"/>
            <a:ext cx="1737536" cy="1737535"/>
          </a:xfrm>
          <a:custGeom>
            <a:avLst/>
            <a:gdLst/>
            <a:ahLst/>
            <a:cxnLst/>
            <a:rect l="l" t="t" r="r" b="b"/>
            <a:pathLst>
              <a:path w="6745" h="6745" extrusionOk="0">
                <a:moveTo>
                  <a:pt x="6745" y="0"/>
                </a:moveTo>
                <a:cubicBezTo>
                  <a:pt x="6745" y="3725"/>
                  <a:pt x="3725" y="6745"/>
                  <a:pt x="0" y="6745"/>
                </a:cubicBezTo>
                <a:lnTo>
                  <a:pt x="0" y="0"/>
                </a:lnTo>
                <a:lnTo>
                  <a:pt x="6745" y="0"/>
                </a:lnTo>
                <a:close/>
              </a:path>
            </a:pathLst>
          </a:custGeom>
          <a:solidFill>
            <a:srgbClr val="00B9AF"/>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575">
              <a:solidFill>
                <a:schemeClr val="dk1"/>
              </a:solidFill>
              <a:latin typeface="Verdana"/>
              <a:ea typeface="Verdana"/>
              <a:cs typeface="Verdana"/>
              <a:sym typeface="Verdana"/>
            </a:endParaRPr>
          </a:p>
        </p:txBody>
      </p:sp>
      <p:sp>
        <p:nvSpPr>
          <p:cNvPr id="31" name="Google Shape;515;p6">
            <a:extLst>
              <a:ext uri="{FF2B5EF4-FFF2-40B4-BE49-F238E27FC236}">
                <a16:creationId xmlns:a16="http://schemas.microsoft.com/office/drawing/2014/main" xmlns="" id="{F8CD038D-DAE9-404C-B92E-FA1871C83BEE}"/>
              </a:ext>
            </a:extLst>
          </p:cNvPr>
          <p:cNvSpPr/>
          <p:nvPr/>
        </p:nvSpPr>
        <p:spPr>
          <a:xfrm>
            <a:off x="6531759" y="2627063"/>
            <a:ext cx="793515" cy="483774"/>
          </a:xfrm>
          <a:custGeom>
            <a:avLst/>
            <a:gdLst/>
            <a:ahLst/>
            <a:cxnLst/>
            <a:rect l="l" t="t" r="r" b="b"/>
            <a:pathLst>
              <a:path w="256" h="208" extrusionOk="0">
                <a:moveTo>
                  <a:pt x="196" y="176"/>
                </a:moveTo>
                <a:cubicBezTo>
                  <a:pt x="189" y="176"/>
                  <a:pt x="184" y="171"/>
                  <a:pt x="184" y="164"/>
                </a:cubicBezTo>
                <a:cubicBezTo>
                  <a:pt x="184" y="157"/>
                  <a:pt x="189" y="152"/>
                  <a:pt x="196" y="152"/>
                </a:cubicBezTo>
                <a:cubicBezTo>
                  <a:pt x="216" y="152"/>
                  <a:pt x="232" y="136"/>
                  <a:pt x="232" y="116"/>
                </a:cubicBezTo>
                <a:cubicBezTo>
                  <a:pt x="232" y="105"/>
                  <a:pt x="227" y="96"/>
                  <a:pt x="220" y="89"/>
                </a:cubicBezTo>
                <a:cubicBezTo>
                  <a:pt x="219" y="88"/>
                  <a:pt x="218" y="88"/>
                  <a:pt x="217" y="87"/>
                </a:cubicBezTo>
                <a:cubicBezTo>
                  <a:pt x="217" y="87"/>
                  <a:pt x="217" y="87"/>
                  <a:pt x="217" y="87"/>
                </a:cubicBezTo>
                <a:cubicBezTo>
                  <a:pt x="217" y="86"/>
                  <a:pt x="216" y="86"/>
                  <a:pt x="215" y="85"/>
                </a:cubicBezTo>
                <a:cubicBezTo>
                  <a:pt x="215" y="85"/>
                  <a:pt x="215" y="85"/>
                  <a:pt x="215" y="85"/>
                </a:cubicBezTo>
                <a:cubicBezTo>
                  <a:pt x="214" y="85"/>
                  <a:pt x="213" y="84"/>
                  <a:pt x="212" y="84"/>
                </a:cubicBezTo>
                <a:cubicBezTo>
                  <a:pt x="212" y="84"/>
                  <a:pt x="212" y="84"/>
                  <a:pt x="211" y="84"/>
                </a:cubicBezTo>
                <a:cubicBezTo>
                  <a:pt x="211" y="83"/>
                  <a:pt x="210" y="83"/>
                  <a:pt x="209" y="83"/>
                </a:cubicBezTo>
                <a:cubicBezTo>
                  <a:pt x="209" y="82"/>
                  <a:pt x="209" y="82"/>
                  <a:pt x="208" y="82"/>
                </a:cubicBezTo>
                <a:cubicBezTo>
                  <a:pt x="208" y="82"/>
                  <a:pt x="207" y="82"/>
                  <a:pt x="206" y="81"/>
                </a:cubicBezTo>
                <a:cubicBezTo>
                  <a:pt x="206" y="81"/>
                  <a:pt x="205" y="81"/>
                  <a:pt x="205" y="81"/>
                </a:cubicBezTo>
                <a:cubicBezTo>
                  <a:pt x="204" y="81"/>
                  <a:pt x="204" y="81"/>
                  <a:pt x="203" y="81"/>
                </a:cubicBezTo>
                <a:cubicBezTo>
                  <a:pt x="202" y="81"/>
                  <a:pt x="202" y="80"/>
                  <a:pt x="201" y="80"/>
                </a:cubicBezTo>
                <a:cubicBezTo>
                  <a:pt x="200" y="80"/>
                  <a:pt x="200" y="80"/>
                  <a:pt x="200" y="80"/>
                </a:cubicBezTo>
                <a:cubicBezTo>
                  <a:pt x="198" y="80"/>
                  <a:pt x="197" y="80"/>
                  <a:pt x="196" y="80"/>
                </a:cubicBezTo>
                <a:cubicBezTo>
                  <a:pt x="196" y="80"/>
                  <a:pt x="195" y="80"/>
                  <a:pt x="195" y="80"/>
                </a:cubicBezTo>
                <a:cubicBezTo>
                  <a:pt x="195" y="78"/>
                  <a:pt x="194" y="76"/>
                  <a:pt x="194" y="74"/>
                </a:cubicBezTo>
                <a:cubicBezTo>
                  <a:pt x="193" y="74"/>
                  <a:pt x="193" y="73"/>
                  <a:pt x="193" y="73"/>
                </a:cubicBezTo>
                <a:cubicBezTo>
                  <a:pt x="193" y="71"/>
                  <a:pt x="192" y="70"/>
                  <a:pt x="192" y="68"/>
                </a:cubicBezTo>
                <a:cubicBezTo>
                  <a:pt x="191" y="68"/>
                  <a:pt x="191" y="67"/>
                  <a:pt x="191" y="67"/>
                </a:cubicBezTo>
                <a:cubicBezTo>
                  <a:pt x="190" y="65"/>
                  <a:pt x="190" y="64"/>
                  <a:pt x="189" y="62"/>
                </a:cubicBezTo>
                <a:cubicBezTo>
                  <a:pt x="189" y="62"/>
                  <a:pt x="189" y="62"/>
                  <a:pt x="189" y="61"/>
                </a:cubicBezTo>
                <a:cubicBezTo>
                  <a:pt x="188" y="60"/>
                  <a:pt x="187" y="58"/>
                  <a:pt x="186" y="57"/>
                </a:cubicBezTo>
                <a:cubicBezTo>
                  <a:pt x="174" y="37"/>
                  <a:pt x="153" y="24"/>
                  <a:pt x="128" y="24"/>
                </a:cubicBezTo>
                <a:cubicBezTo>
                  <a:pt x="103" y="24"/>
                  <a:pt x="82" y="37"/>
                  <a:pt x="70" y="57"/>
                </a:cubicBezTo>
                <a:cubicBezTo>
                  <a:pt x="69" y="58"/>
                  <a:pt x="68" y="60"/>
                  <a:pt x="67" y="61"/>
                </a:cubicBezTo>
                <a:cubicBezTo>
                  <a:pt x="67" y="62"/>
                  <a:pt x="67" y="62"/>
                  <a:pt x="67" y="62"/>
                </a:cubicBezTo>
                <a:cubicBezTo>
                  <a:pt x="66" y="64"/>
                  <a:pt x="66" y="65"/>
                  <a:pt x="65" y="67"/>
                </a:cubicBezTo>
                <a:cubicBezTo>
                  <a:pt x="65" y="67"/>
                  <a:pt x="65" y="68"/>
                  <a:pt x="64" y="68"/>
                </a:cubicBezTo>
                <a:cubicBezTo>
                  <a:pt x="64" y="70"/>
                  <a:pt x="63" y="71"/>
                  <a:pt x="63" y="73"/>
                </a:cubicBezTo>
                <a:cubicBezTo>
                  <a:pt x="63" y="73"/>
                  <a:pt x="63" y="74"/>
                  <a:pt x="62" y="74"/>
                </a:cubicBezTo>
                <a:cubicBezTo>
                  <a:pt x="62" y="76"/>
                  <a:pt x="61" y="78"/>
                  <a:pt x="61" y="80"/>
                </a:cubicBezTo>
                <a:cubicBezTo>
                  <a:pt x="61" y="80"/>
                  <a:pt x="60" y="80"/>
                  <a:pt x="60" y="80"/>
                </a:cubicBezTo>
                <a:cubicBezTo>
                  <a:pt x="59" y="80"/>
                  <a:pt x="58" y="80"/>
                  <a:pt x="56" y="80"/>
                </a:cubicBezTo>
                <a:cubicBezTo>
                  <a:pt x="56" y="80"/>
                  <a:pt x="56" y="80"/>
                  <a:pt x="55" y="80"/>
                </a:cubicBezTo>
                <a:cubicBezTo>
                  <a:pt x="54" y="80"/>
                  <a:pt x="54" y="81"/>
                  <a:pt x="53" y="81"/>
                </a:cubicBezTo>
                <a:cubicBezTo>
                  <a:pt x="52" y="81"/>
                  <a:pt x="52" y="81"/>
                  <a:pt x="51" y="81"/>
                </a:cubicBezTo>
                <a:cubicBezTo>
                  <a:pt x="51" y="81"/>
                  <a:pt x="50" y="81"/>
                  <a:pt x="50" y="81"/>
                </a:cubicBezTo>
                <a:cubicBezTo>
                  <a:pt x="49" y="82"/>
                  <a:pt x="48" y="82"/>
                  <a:pt x="48" y="82"/>
                </a:cubicBezTo>
                <a:cubicBezTo>
                  <a:pt x="47" y="82"/>
                  <a:pt x="47" y="82"/>
                  <a:pt x="47" y="83"/>
                </a:cubicBezTo>
                <a:cubicBezTo>
                  <a:pt x="46" y="83"/>
                  <a:pt x="45" y="83"/>
                  <a:pt x="45" y="84"/>
                </a:cubicBezTo>
                <a:cubicBezTo>
                  <a:pt x="44" y="84"/>
                  <a:pt x="44" y="84"/>
                  <a:pt x="44" y="84"/>
                </a:cubicBezTo>
                <a:cubicBezTo>
                  <a:pt x="43" y="84"/>
                  <a:pt x="42" y="85"/>
                  <a:pt x="41" y="85"/>
                </a:cubicBezTo>
                <a:cubicBezTo>
                  <a:pt x="41" y="85"/>
                  <a:pt x="41" y="85"/>
                  <a:pt x="41" y="85"/>
                </a:cubicBezTo>
                <a:cubicBezTo>
                  <a:pt x="40" y="86"/>
                  <a:pt x="39" y="86"/>
                  <a:pt x="39" y="87"/>
                </a:cubicBezTo>
                <a:cubicBezTo>
                  <a:pt x="39" y="87"/>
                  <a:pt x="39" y="87"/>
                  <a:pt x="39" y="87"/>
                </a:cubicBezTo>
                <a:cubicBezTo>
                  <a:pt x="38" y="88"/>
                  <a:pt x="37" y="88"/>
                  <a:pt x="36" y="89"/>
                </a:cubicBezTo>
                <a:cubicBezTo>
                  <a:pt x="29" y="96"/>
                  <a:pt x="24" y="105"/>
                  <a:pt x="24" y="116"/>
                </a:cubicBezTo>
                <a:cubicBezTo>
                  <a:pt x="24" y="136"/>
                  <a:pt x="40" y="152"/>
                  <a:pt x="60" y="152"/>
                </a:cubicBezTo>
                <a:cubicBezTo>
                  <a:pt x="67" y="152"/>
                  <a:pt x="72" y="157"/>
                  <a:pt x="72" y="164"/>
                </a:cubicBezTo>
                <a:cubicBezTo>
                  <a:pt x="72" y="171"/>
                  <a:pt x="67" y="176"/>
                  <a:pt x="60" y="176"/>
                </a:cubicBezTo>
                <a:cubicBezTo>
                  <a:pt x="27" y="176"/>
                  <a:pt x="0" y="149"/>
                  <a:pt x="0" y="116"/>
                </a:cubicBezTo>
                <a:cubicBezTo>
                  <a:pt x="0" y="89"/>
                  <a:pt x="18" y="66"/>
                  <a:pt x="42" y="59"/>
                </a:cubicBezTo>
                <a:cubicBezTo>
                  <a:pt x="56" y="24"/>
                  <a:pt x="89" y="0"/>
                  <a:pt x="128" y="0"/>
                </a:cubicBezTo>
                <a:cubicBezTo>
                  <a:pt x="167" y="0"/>
                  <a:pt x="200" y="24"/>
                  <a:pt x="214" y="59"/>
                </a:cubicBezTo>
                <a:cubicBezTo>
                  <a:pt x="238" y="66"/>
                  <a:pt x="256" y="89"/>
                  <a:pt x="256" y="116"/>
                </a:cubicBezTo>
                <a:cubicBezTo>
                  <a:pt x="256" y="149"/>
                  <a:pt x="229" y="176"/>
                  <a:pt x="196" y="176"/>
                </a:cubicBezTo>
                <a:close/>
                <a:moveTo>
                  <a:pt x="96" y="152"/>
                </a:moveTo>
                <a:cubicBezTo>
                  <a:pt x="99" y="152"/>
                  <a:pt x="102" y="153"/>
                  <a:pt x="104" y="156"/>
                </a:cubicBezTo>
                <a:cubicBezTo>
                  <a:pt x="104" y="156"/>
                  <a:pt x="104" y="156"/>
                  <a:pt x="104" y="156"/>
                </a:cubicBezTo>
                <a:cubicBezTo>
                  <a:pt x="126" y="177"/>
                  <a:pt x="126" y="177"/>
                  <a:pt x="126" y="177"/>
                </a:cubicBezTo>
                <a:cubicBezTo>
                  <a:pt x="162" y="125"/>
                  <a:pt x="162" y="125"/>
                  <a:pt x="162" y="125"/>
                </a:cubicBezTo>
                <a:cubicBezTo>
                  <a:pt x="164" y="122"/>
                  <a:pt x="168" y="120"/>
                  <a:pt x="172" y="120"/>
                </a:cubicBezTo>
                <a:cubicBezTo>
                  <a:pt x="179" y="120"/>
                  <a:pt x="184" y="125"/>
                  <a:pt x="184" y="132"/>
                </a:cubicBezTo>
                <a:cubicBezTo>
                  <a:pt x="184" y="135"/>
                  <a:pt x="183" y="137"/>
                  <a:pt x="182" y="139"/>
                </a:cubicBezTo>
                <a:cubicBezTo>
                  <a:pt x="138" y="203"/>
                  <a:pt x="138" y="203"/>
                  <a:pt x="138" y="203"/>
                </a:cubicBezTo>
                <a:cubicBezTo>
                  <a:pt x="136" y="206"/>
                  <a:pt x="132" y="208"/>
                  <a:pt x="128" y="208"/>
                </a:cubicBezTo>
                <a:cubicBezTo>
                  <a:pt x="125" y="208"/>
                  <a:pt x="122" y="207"/>
                  <a:pt x="120" y="204"/>
                </a:cubicBezTo>
                <a:cubicBezTo>
                  <a:pt x="120" y="204"/>
                  <a:pt x="120" y="204"/>
                  <a:pt x="120" y="204"/>
                </a:cubicBezTo>
                <a:cubicBezTo>
                  <a:pt x="88" y="172"/>
                  <a:pt x="88" y="172"/>
                  <a:pt x="88" y="172"/>
                </a:cubicBezTo>
                <a:cubicBezTo>
                  <a:pt x="88" y="172"/>
                  <a:pt x="88" y="172"/>
                  <a:pt x="88" y="172"/>
                </a:cubicBezTo>
                <a:cubicBezTo>
                  <a:pt x="85" y="170"/>
                  <a:pt x="84" y="167"/>
                  <a:pt x="84" y="164"/>
                </a:cubicBezTo>
                <a:cubicBezTo>
                  <a:pt x="84" y="157"/>
                  <a:pt x="89" y="152"/>
                  <a:pt x="96" y="152"/>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5">
              <a:solidFill>
                <a:srgbClr val="000000"/>
              </a:solidFill>
              <a:latin typeface="Calibri"/>
              <a:ea typeface="Calibri"/>
              <a:cs typeface="Calibri"/>
              <a:sym typeface="Calibri"/>
            </a:endParaRPr>
          </a:p>
        </p:txBody>
      </p:sp>
      <p:sp>
        <p:nvSpPr>
          <p:cNvPr id="32" name="Google Shape;516;p6">
            <a:extLst>
              <a:ext uri="{FF2B5EF4-FFF2-40B4-BE49-F238E27FC236}">
                <a16:creationId xmlns:a16="http://schemas.microsoft.com/office/drawing/2014/main" xmlns="" id="{30D02607-7235-4AC2-8177-F4717F4C343F}"/>
              </a:ext>
            </a:extLst>
          </p:cNvPr>
          <p:cNvSpPr/>
          <p:nvPr/>
        </p:nvSpPr>
        <p:spPr>
          <a:xfrm>
            <a:off x="6506966" y="4370990"/>
            <a:ext cx="877811" cy="523673"/>
          </a:xfrm>
          <a:custGeom>
            <a:avLst/>
            <a:gdLst/>
            <a:ahLst/>
            <a:cxnLst/>
            <a:rect l="l" t="t" r="r" b="b"/>
            <a:pathLst>
              <a:path w="448" h="344" extrusionOk="0">
                <a:moveTo>
                  <a:pt x="448" y="45"/>
                </a:moveTo>
                <a:cubicBezTo>
                  <a:pt x="448" y="185"/>
                  <a:pt x="448" y="185"/>
                  <a:pt x="448" y="185"/>
                </a:cubicBezTo>
                <a:cubicBezTo>
                  <a:pt x="448" y="185"/>
                  <a:pt x="419" y="191"/>
                  <a:pt x="413" y="192"/>
                </a:cubicBezTo>
                <a:cubicBezTo>
                  <a:pt x="407" y="193"/>
                  <a:pt x="388" y="199"/>
                  <a:pt x="375" y="185"/>
                </a:cubicBezTo>
                <a:cubicBezTo>
                  <a:pt x="354" y="165"/>
                  <a:pt x="279" y="88"/>
                  <a:pt x="279" y="88"/>
                </a:cubicBezTo>
                <a:cubicBezTo>
                  <a:pt x="279" y="88"/>
                  <a:pt x="267" y="75"/>
                  <a:pt x="246" y="86"/>
                </a:cubicBezTo>
                <a:cubicBezTo>
                  <a:pt x="227" y="96"/>
                  <a:pt x="199" y="112"/>
                  <a:pt x="187" y="117"/>
                </a:cubicBezTo>
                <a:cubicBezTo>
                  <a:pt x="183" y="120"/>
                  <a:pt x="178" y="122"/>
                  <a:pt x="173" y="122"/>
                </a:cubicBezTo>
                <a:cubicBezTo>
                  <a:pt x="158" y="122"/>
                  <a:pt x="147" y="110"/>
                  <a:pt x="147" y="96"/>
                </a:cubicBezTo>
                <a:cubicBezTo>
                  <a:pt x="147" y="84"/>
                  <a:pt x="154" y="74"/>
                  <a:pt x="164" y="70"/>
                </a:cubicBezTo>
                <a:cubicBezTo>
                  <a:pt x="191" y="54"/>
                  <a:pt x="247" y="21"/>
                  <a:pt x="270" y="8"/>
                </a:cubicBezTo>
                <a:cubicBezTo>
                  <a:pt x="284" y="0"/>
                  <a:pt x="295" y="0"/>
                  <a:pt x="314" y="17"/>
                </a:cubicBezTo>
                <a:cubicBezTo>
                  <a:pt x="338" y="38"/>
                  <a:pt x="360" y="57"/>
                  <a:pt x="360" y="57"/>
                </a:cubicBezTo>
                <a:cubicBezTo>
                  <a:pt x="360" y="57"/>
                  <a:pt x="370" y="62"/>
                  <a:pt x="378" y="61"/>
                </a:cubicBezTo>
                <a:cubicBezTo>
                  <a:pt x="395" y="58"/>
                  <a:pt x="448" y="45"/>
                  <a:pt x="448" y="45"/>
                </a:cubicBezTo>
                <a:close/>
                <a:moveTo>
                  <a:pt x="152" y="283"/>
                </a:moveTo>
                <a:cubicBezTo>
                  <a:pt x="156" y="273"/>
                  <a:pt x="154" y="263"/>
                  <a:pt x="147" y="255"/>
                </a:cubicBezTo>
                <a:cubicBezTo>
                  <a:pt x="141" y="249"/>
                  <a:pt x="132" y="247"/>
                  <a:pt x="124" y="249"/>
                </a:cubicBezTo>
                <a:cubicBezTo>
                  <a:pt x="126" y="240"/>
                  <a:pt x="125" y="231"/>
                  <a:pt x="118" y="224"/>
                </a:cubicBezTo>
                <a:cubicBezTo>
                  <a:pt x="112" y="217"/>
                  <a:pt x="103" y="216"/>
                  <a:pt x="94" y="218"/>
                </a:cubicBezTo>
                <a:cubicBezTo>
                  <a:pt x="97" y="209"/>
                  <a:pt x="96" y="199"/>
                  <a:pt x="89" y="193"/>
                </a:cubicBezTo>
                <a:cubicBezTo>
                  <a:pt x="80" y="182"/>
                  <a:pt x="63" y="183"/>
                  <a:pt x="52" y="194"/>
                </a:cubicBezTo>
                <a:cubicBezTo>
                  <a:pt x="40" y="205"/>
                  <a:pt x="33" y="225"/>
                  <a:pt x="43" y="236"/>
                </a:cubicBezTo>
                <a:cubicBezTo>
                  <a:pt x="53" y="248"/>
                  <a:pt x="64" y="241"/>
                  <a:pt x="73" y="239"/>
                </a:cubicBezTo>
                <a:cubicBezTo>
                  <a:pt x="71" y="248"/>
                  <a:pt x="63" y="256"/>
                  <a:pt x="72" y="268"/>
                </a:cubicBezTo>
                <a:cubicBezTo>
                  <a:pt x="81" y="279"/>
                  <a:pt x="93" y="272"/>
                  <a:pt x="102" y="270"/>
                </a:cubicBezTo>
                <a:cubicBezTo>
                  <a:pt x="100" y="279"/>
                  <a:pt x="93" y="288"/>
                  <a:pt x="101" y="299"/>
                </a:cubicBezTo>
                <a:cubicBezTo>
                  <a:pt x="110" y="310"/>
                  <a:pt x="124" y="304"/>
                  <a:pt x="133" y="301"/>
                </a:cubicBezTo>
                <a:cubicBezTo>
                  <a:pt x="130" y="310"/>
                  <a:pt x="122" y="321"/>
                  <a:pt x="132" y="332"/>
                </a:cubicBezTo>
                <a:cubicBezTo>
                  <a:pt x="142" y="344"/>
                  <a:pt x="164" y="339"/>
                  <a:pt x="176" y="328"/>
                </a:cubicBezTo>
                <a:cubicBezTo>
                  <a:pt x="187" y="317"/>
                  <a:pt x="188" y="299"/>
                  <a:pt x="178" y="289"/>
                </a:cubicBezTo>
                <a:cubicBezTo>
                  <a:pt x="171" y="282"/>
                  <a:pt x="161" y="280"/>
                  <a:pt x="152" y="283"/>
                </a:cubicBezTo>
                <a:close/>
                <a:moveTo>
                  <a:pt x="354" y="209"/>
                </a:moveTo>
                <a:cubicBezTo>
                  <a:pt x="275" y="126"/>
                  <a:pt x="312" y="165"/>
                  <a:pt x="269" y="121"/>
                </a:cubicBezTo>
                <a:cubicBezTo>
                  <a:pt x="269" y="121"/>
                  <a:pt x="256" y="107"/>
                  <a:pt x="239" y="115"/>
                </a:cubicBezTo>
                <a:cubicBezTo>
                  <a:pt x="227" y="120"/>
                  <a:pt x="211" y="128"/>
                  <a:pt x="200" y="134"/>
                </a:cubicBezTo>
                <a:cubicBezTo>
                  <a:pt x="187" y="141"/>
                  <a:pt x="176" y="143"/>
                  <a:pt x="173" y="143"/>
                </a:cubicBezTo>
                <a:cubicBezTo>
                  <a:pt x="149" y="143"/>
                  <a:pt x="129" y="122"/>
                  <a:pt x="129" y="96"/>
                </a:cubicBezTo>
                <a:cubicBezTo>
                  <a:pt x="129" y="80"/>
                  <a:pt x="137" y="65"/>
                  <a:pt x="150" y="57"/>
                </a:cubicBezTo>
                <a:cubicBezTo>
                  <a:pt x="168" y="44"/>
                  <a:pt x="209" y="21"/>
                  <a:pt x="209" y="21"/>
                </a:cubicBezTo>
                <a:cubicBezTo>
                  <a:pt x="209" y="21"/>
                  <a:pt x="196" y="5"/>
                  <a:pt x="169" y="5"/>
                </a:cubicBezTo>
                <a:cubicBezTo>
                  <a:pt x="141" y="5"/>
                  <a:pt x="84" y="44"/>
                  <a:pt x="84" y="44"/>
                </a:cubicBezTo>
                <a:cubicBezTo>
                  <a:pt x="84" y="44"/>
                  <a:pt x="68" y="55"/>
                  <a:pt x="45" y="45"/>
                </a:cubicBezTo>
                <a:cubicBezTo>
                  <a:pt x="0" y="29"/>
                  <a:pt x="0" y="29"/>
                  <a:pt x="0" y="29"/>
                </a:cubicBezTo>
                <a:cubicBezTo>
                  <a:pt x="0" y="190"/>
                  <a:pt x="0" y="190"/>
                  <a:pt x="0" y="190"/>
                </a:cubicBezTo>
                <a:cubicBezTo>
                  <a:pt x="0" y="190"/>
                  <a:pt x="13" y="194"/>
                  <a:pt x="24" y="198"/>
                </a:cubicBezTo>
                <a:cubicBezTo>
                  <a:pt x="27" y="191"/>
                  <a:pt x="31" y="184"/>
                  <a:pt x="37" y="178"/>
                </a:cubicBezTo>
                <a:cubicBezTo>
                  <a:pt x="56" y="159"/>
                  <a:pt x="87" y="159"/>
                  <a:pt x="105" y="177"/>
                </a:cubicBezTo>
                <a:cubicBezTo>
                  <a:pt x="110" y="183"/>
                  <a:pt x="113" y="190"/>
                  <a:pt x="115" y="197"/>
                </a:cubicBezTo>
                <a:cubicBezTo>
                  <a:pt x="122" y="199"/>
                  <a:pt x="128" y="203"/>
                  <a:pt x="134" y="209"/>
                </a:cubicBezTo>
                <a:cubicBezTo>
                  <a:pt x="139" y="214"/>
                  <a:pt x="142" y="221"/>
                  <a:pt x="144" y="228"/>
                </a:cubicBezTo>
                <a:cubicBezTo>
                  <a:pt x="151" y="231"/>
                  <a:pt x="158" y="235"/>
                  <a:pt x="163" y="240"/>
                </a:cubicBezTo>
                <a:cubicBezTo>
                  <a:pt x="168" y="246"/>
                  <a:pt x="172" y="254"/>
                  <a:pt x="174" y="262"/>
                </a:cubicBezTo>
                <a:cubicBezTo>
                  <a:pt x="181" y="264"/>
                  <a:pt x="188" y="268"/>
                  <a:pt x="193" y="274"/>
                </a:cubicBezTo>
                <a:cubicBezTo>
                  <a:pt x="204" y="285"/>
                  <a:pt x="207" y="300"/>
                  <a:pt x="205" y="314"/>
                </a:cubicBezTo>
                <a:cubicBezTo>
                  <a:pt x="205" y="314"/>
                  <a:pt x="205" y="314"/>
                  <a:pt x="205" y="314"/>
                </a:cubicBezTo>
                <a:cubicBezTo>
                  <a:pt x="205" y="314"/>
                  <a:pt x="205" y="314"/>
                  <a:pt x="205" y="314"/>
                </a:cubicBezTo>
                <a:cubicBezTo>
                  <a:pt x="205" y="314"/>
                  <a:pt x="205" y="314"/>
                  <a:pt x="205" y="314"/>
                </a:cubicBezTo>
                <a:cubicBezTo>
                  <a:pt x="205" y="314"/>
                  <a:pt x="205" y="314"/>
                  <a:pt x="205" y="314"/>
                </a:cubicBezTo>
                <a:cubicBezTo>
                  <a:pt x="205" y="315"/>
                  <a:pt x="212" y="322"/>
                  <a:pt x="215" y="326"/>
                </a:cubicBezTo>
                <a:cubicBezTo>
                  <a:pt x="223" y="334"/>
                  <a:pt x="236" y="334"/>
                  <a:pt x="243" y="326"/>
                </a:cubicBezTo>
                <a:cubicBezTo>
                  <a:pt x="251" y="318"/>
                  <a:pt x="251" y="305"/>
                  <a:pt x="243" y="297"/>
                </a:cubicBezTo>
                <a:cubicBezTo>
                  <a:pt x="243" y="297"/>
                  <a:pt x="243" y="296"/>
                  <a:pt x="242" y="296"/>
                </a:cubicBezTo>
                <a:cubicBezTo>
                  <a:pt x="242" y="296"/>
                  <a:pt x="242" y="296"/>
                  <a:pt x="242" y="296"/>
                </a:cubicBezTo>
                <a:cubicBezTo>
                  <a:pt x="217" y="269"/>
                  <a:pt x="215" y="267"/>
                  <a:pt x="218" y="265"/>
                </a:cubicBezTo>
                <a:cubicBezTo>
                  <a:pt x="220" y="262"/>
                  <a:pt x="224" y="268"/>
                  <a:pt x="253" y="298"/>
                </a:cubicBezTo>
                <a:cubicBezTo>
                  <a:pt x="253" y="298"/>
                  <a:pt x="253" y="298"/>
                  <a:pt x="254" y="298"/>
                </a:cubicBezTo>
                <a:cubicBezTo>
                  <a:pt x="254" y="299"/>
                  <a:pt x="255" y="300"/>
                  <a:pt x="256" y="301"/>
                </a:cubicBezTo>
                <a:cubicBezTo>
                  <a:pt x="263" y="309"/>
                  <a:pt x="276" y="309"/>
                  <a:pt x="283" y="301"/>
                </a:cubicBezTo>
                <a:cubicBezTo>
                  <a:pt x="291" y="293"/>
                  <a:pt x="291" y="280"/>
                  <a:pt x="283" y="272"/>
                </a:cubicBezTo>
                <a:cubicBezTo>
                  <a:pt x="283" y="271"/>
                  <a:pt x="282" y="271"/>
                  <a:pt x="282" y="271"/>
                </a:cubicBezTo>
                <a:cubicBezTo>
                  <a:pt x="282" y="270"/>
                  <a:pt x="281" y="270"/>
                  <a:pt x="281" y="269"/>
                </a:cubicBezTo>
                <a:cubicBezTo>
                  <a:pt x="254" y="242"/>
                  <a:pt x="251" y="237"/>
                  <a:pt x="253" y="235"/>
                </a:cubicBezTo>
                <a:cubicBezTo>
                  <a:pt x="256" y="232"/>
                  <a:pt x="268" y="246"/>
                  <a:pt x="294" y="273"/>
                </a:cubicBezTo>
                <a:cubicBezTo>
                  <a:pt x="294" y="273"/>
                  <a:pt x="294" y="273"/>
                  <a:pt x="294" y="273"/>
                </a:cubicBezTo>
                <a:cubicBezTo>
                  <a:pt x="302" y="281"/>
                  <a:pt x="314" y="280"/>
                  <a:pt x="322" y="273"/>
                </a:cubicBezTo>
                <a:cubicBezTo>
                  <a:pt x="329" y="265"/>
                  <a:pt x="329" y="254"/>
                  <a:pt x="323" y="246"/>
                </a:cubicBezTo>
                <a:cubicBezTo>
                  <a:pt x="323" y="245"/>
                  <a:pt x="323" y="245"/>
                  <a:pt x="322" y="244"/>
                </a:cubicBezTo>
                <a:cubicBezTo>
                  <a:pt x="289" y="210"/>
                  <a:pt x="290" y="209"/>
                  <a:pt x="292" y="207"/>
                </a:cubicBezTo>
                <a:cubicBezTo>
                  <a:pt x="294" y="205"/>
                  <a:pt x="295" y="205"/>
                  <a:pt x="327" y="238"/>
                </a:cubicBezTo>
                <a:cubicBezTo>
                  <a:pt x="327" y="238"/>
                  <a:pt x="327" y="239"/>
                  <a:pt x="327" y="239"/>
                </a:cubicBezTo>
                <a:cubicBezTo>
                  <a:pt x="335" y="247"/>
                  <a:pt x="347" y="247"/>
                  <a:pt x="355" y="239"/>
                </a:cubicBezTo>
                <a:cubicBezTo>
                  <a:pt x="363" y="231"/>
                  <a:pt x="363" y="218"/>
                  <a:pt x="355" y="210"/>
                </a:cubicBezTo>
                <a:cubicBezTo>
                  <a:pt x="355" y="210"/>
                  <a:pt x="355" y="210"/>
                  <a:pt x="354" y="209"/>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5">
              <a:solidFill>
                <a:srgbClr val="000000"/>
              </a:solidFill>
              <a:latin typeface="Calibri"/>
              <a:ea typeface="Calibri"/>
              <a:cs typeface="Calibri"/>
              <a:sym typeface="Calibri"/>
            </a:endParaRPr>
          </a:p>
        </p:txBody>
      </p:sp>
      <p:sp>
        <p:nvSpPr>
          <p:cNvPr id="33" name="Google Shape;517;p6">
            <a:extLst>
              <a:ext uri="{FF2B5EF4-FFF2-40B4-BE49-F238E27FC236}">
                <a16:creationId xmlns:a16="http://schemas.microsoft.com/office/drawing/2014/main" xmlns="" id="{A921735F-43D2-435D-ADEE-AAD4AFE94003}"/>
              </a:ext>
            </a:extLst>
          </p:cNvPr>
          <p:cNvSpPr/>
          <p:nvPr/>
        </p:nvSpPr>
        <p:spPr>
          <a:xfrm>
            <a:off x="5069123" y="2550985"/>
            <a:ext cx="526813" cy="650282"/>
          </a:xfrm>
          <a:custGeom>
            <a:avLst/>
            <a:gdLst/>
            <a:ahLst/>
            <a:cxnLst/>
            <a:rect l="l" t="t" r="r" b="b"/>
            <a:pathLst>
              <a:path w="816" h="1066" extrusionOk="0">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5">
              <a:solidFill>
                <a:srgbClr val="FFFFFF"/>
              </a:solidFill>
              <a:latin typeface="Calibri"/>
              <a:ea typeface="Calibri"/>
              <a:cs typeface="Calibri"/>
              <a:sym typeface="Calibri"/>
            </a:endParaRPr>
          </a:p>
        </p:txBody>
      </p:sp>
      <p:grpSp>
        <p:nvGrpSpPr>
          <p:cNvPr id="34" name="Google Shape;518;p6">
            <a:extLst>
              <a:ext uri="{FF2B5EF4-FFF2-40B4-BE49-F238E27FC236}">
                <a16:creationId xmlns:a16="http://schemas.microsoft.com/office/drawing/2014/main" xmlns="" id="{55F7E557-F787-4C02-BF56-9E931D7AA569}"/>
              </a:ext>
            </a:extLst>
          </p:cNvPr>
          <p:cNvGrpSpPr/>
          <p:nvPr/>
        </p:nvGrpSpPr>
        <p:grpSpPr>
          <a:xfrm>
            <a:off x="4981381" y="4315660"/>
            <a:ext cx="555289" cy="511199"/>
            <a:chOff x="3054686" y="3289276"/>
            <a:chExt cx="798419" cy="597909"/>
          </a:xfrm>
        </p:grpSpPr>
        <p:sp>
          <p:nvSpPr>
            <p:cNvPr id="35" name="Google Shape;519;p6">
              <a:extLst>
                <a:ext uri="{FF2B5EF4-FFF2-40B4-BE49-F238E27FC236}">
                  <a16:creationId xmlns:a16="http://schemas.microsoft.com/office/drawing/2014/main" xmlns="" id="{431939E4-26AD-4F4B-B647-86F27F4D1F82}"/>
                </a:ext>
              </a:extLst>
            </p:cNvPr>
            <p:cNvSpPr/>
            <p:nvPr/>
          </p:nvSpPr>
          <p:spPr>
            <a:xfrm>
              <a:off x="3054686" y="3438402"/>
              <a:ext cx="227851" cy="448783"/>
            </a:xfrm>
            <a:custGeom>
              <a:avLst/>
              <a:gdLst/>
              <a:ahLst/>
              <a:cxnLst/>
              <a:rect l="l" t="t" r="r" b="b"/>
              <a:pathLst>
                <a:path w="151" h="398" extrusionOk="0">
                  <a:moveTo>
                    <a:pt x="114" y="208"/>
                  </a:moveTo>
                  <a:cubicBezTo>
                    <a:pt x="114" y="19"/>
                    <a:pt x="114" y="19"/>
                    <a:pt x="114" y="19"/>
                  </a:cubicBezTo>
                  <a:cubicBezTo>
                    <a:pt x="114" y="19"/>
                    <a:pt x="114" y="11"/>
                    <a:pt x="118" y="0"/>
                  </a:cubicBezTo>
                  <a:cubicBezTo>
                    <a:pt x="38" y="0"/>
                    <a:pt x="38" y="0"/>
                    <a:pt x="38" y="0"/>
                  </a:cubicBezTo>
                  <a:cubicBezTo>
                    <a:pt x="38" y="0"/>
                    <a:pt x="0" y="0"/>
                    <a:pt x="0" y="38"/>
                  </a:cubicBezTo>
                  <a:cubicBezTo>
                    <a:pt x="0" y="171"/>
                    <a:pt x="0" y="171"/>
                    <a:pt x="0" y="171"/>
                  </a:cubicBezTo>
                  <a:cubicBezTo>
                    <a:pt x="0" y="208"/>
                    <a:pt x="38" y="208"/>
                    <a:pt x="38" y="208"/>
                  </a:cubicBezTo>
                  <a:cubicBezTo>
                    <a:pt x="38" y="398"/>
                    <a:pt x="38" y="398"/>
                    <a:pt x="38" y="398"/>
                  </a:cubicBezTo>
                  <a:cubicBezTo>
                    <a:pt x="151" y="398"/>
                    <a:pt x="151" y="398"/>
                    <a:pt x="151" y="398"/>
                  </a:cubicBezTo>
                  <a:cubicBezTo>
                    <a:pt x="151" y="246"/>
                    <a:pt x="151" y="246"/>
                    <a:pt x="151" y="246"/>
                  </a:cubicBezTo>
                  <a:cubicBezTo>
                    <a:pt x="151" y="246"/>
                    <a:pt x="114" y="246"/>
                    <a:pt x="114" y="208"/>
                  </a:cubicBezTo>
                  <a:close/>
                  <a:moveTo>
                    <a:pt x="114" y="208"/>
                  </a:moveTo>
                  <a:cubicBezTo>
                    <a:pt x="114" y="208"/>
                    <a:pt x="114" y="208"/>
                    <a:pt x="114" y="208"/>
                  </a:cubicBezTo>
                </a:path>
              </a:pathLst>
            </a:custGeom>
            <a:solidFill>
              <a:schemeClr val="l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Verdana"/>
                <a:ea typeface="Verdana"/>
                <a:cs typeface="Verdana"/>
                <a:sym typeface="Verdana"/>
              </a:endParaRPr>
            </a:p>
          </p:txBody>
        </p:sp>
        <p:sp>
          <p:nvSpPr>
            <p:cNvPr id="36" name="Google Shape;520;p6">
              <a:extLst>
                <a:ext uri="{FF2B5EF4-FFF2-40B4-BE49-F238E27FC236}">
                  <a16:creationId xmlns:a16="http://schemas.microsoft.com/office/drawing/2014/main" xmlns="" id="{81387D7D-94D8-4021-A598-4C502A976846}"/>
                </a:ext>
              </a:extLst>
            </p:cNvPr>
            <p:cNvSpPr/>
            <p:nvPr/>
          </p:nvSpPr>
          <p:spPr>
            <a:xfrm>
              <a:off x="3141307" y="3289276"/>
              <a:ext cx="169476" cy="129430"/>
            </a:xfrm>
            <a:custGeom>
              <a:avLst/>
              <a:gdLst/>
              <a:ahLst/>
              <a:cxnLst/>
              <a:rect l="l" t="t" r="r" b="b"/>
              <a:pathLst>
                <a:path w="113" h="114" extrusionOk="0">
                  <a:moveTo>
                    <a:pt x="57" y="114"/>
                  </a:moveTo>
                  <a:cubicBezTo>
                    <a:pt x="66" y="114"/>
                    <a:pt x="75" y="111"/>
                    <a:pt x="83" y="106"/>
                  </a:cubicBezTo>
                  <a:cubicBezTo>
                    <a:pt x="85" y="106"/>
                    <a:pt x="86" y="105"/>
                    <a:pt x="87" y="104"/>
                  </a:cubicBezTo>
                  <a:cubicBezTo>
                    <a:pt x="103" y="94"/>
                    <a:pt x="113" y="77"/>
                    <a:pt x="113" y="57"/>
                  </a:cubicBezTo>
                  <a:cubicBezTo>
                    <a:pt x="113" y="25"/>
                    <a:pt x="88" y="0"/>
                    <a:pt x="57" y="0"/>
                  </a:cubicBezTo>
                  <a:cubicBezTo>
                    <a:pt x="25" y="0"/>
                    <a:pt x="0" y="25"/>
                    <a:pt x="0" y="57"/>
                  </a:cubicBezTo>
                  <a:cubicBezTo>
                    <a:pt x="0" y="88"/>
                    <a:pt x="25" y="114"/>
                    <a:pt x="57" y="114"/>
                  </a:cubicBezTo>
                  <a:close/>
                  <a:moveTo>
                    <a:pt x="57" y="114"/>
                  </a:moveTo>
                  <a:cubicBezTo>
                    <a:pt x="57" y="114"/>
                    <a:pt x="57" y="114"/>
                    <a:pt x="57" y="114"/>
                  </a:cubicBezTo>
                </a:path>
              </a:pathLst>
            </a:custGeom>
            <a:solidFill>
              <a:schemeClr val="l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Verdana"/>
                <a:ea typeface="Verdana"/>
                <a:cs typeface="Verdana"/>
                <a:sym typeface="Verdana"/>
              </a:endParaRPr>
            </a:p>
          </p:txBody>
        </p:sp>
        <p:sp>
          <p:nvSpPr>
            <p:cNvPr id="37" name="Google Shape;521;p6">
              <a:extLst>
                <a:ext uri="{FF2B5EF4-FFF2-40B4-BE49-F238E27FC236}">
                  <a16:creationId xmlns:a16="http://schemas.microsoft.com/office/drawing/2014/main" xmlns="" id="{D6FCF3FF-5E4F-49FA-BB79-E110E6B3A733}"/>
                </a:ext>
              </a:extLst>
            </p:cNvPr>
            <p:cNvSpPr/>
            <p:nvPr/>
          </p:nvSpPr>
          <p:spPr>
            <a:xfrm>
              <a:off x="3623371" y="3438402"/>
              <a:ext cx="229734" cy="448783"/>
            </a:xfrm>
            <a:custGeom>
              <a:avLst/>
              <a:gdLst/>
              <a:ahLst/>
              <a:cxnLst/>
              <a:rect l="l" t="t" r="r" b="b"/>
              <a:pathLst>
                <a:path w="152" h="398" extrusionOk="0">
                  <a:moveTo>
                    <a:pt x="114" y="0"/>
                  </a:moveTo>
                  <a:cubicBezTo>
                    <a:pt x="34" y="0"/>
                    <a:pt x="34" y="0"/>
                    <a:pt x="34" y="0"/>
                  </a:cubicBezTo>
                  <a:cubicBezTo>
                    <a:pt x="38" y="11"/>
                    <a:pt x="38" y="19"/>
                    <a:pt x="38" y="19"/>
                  </a:cubicBezTo>
                  <a:cubicBezTo>
                    <a:pt x="38" y="208"/>
                    <a:pt x="38" y="208"/>
                    <a:pt x="38" y="208"/>
                  </a:cubicBezTo>
                  <a:cubicBezTo>
                    <a:pt x="38" y="246"/>
                    <a:pt x="0" y="246"/>
                    <a:pt x="0" y="246"/>
                  </a:cubicBezTo>
                  <a:cubicBezTo>
                    <a:pt x="0" y="398"/>
                    <a:pt x="0" y="398"/>
                    <a:pt x="0" y="398"/>
                  </a:cubicBezTo>
                  <a:cubicBezTo>
                    <a:pt x="114" y="398"/>
                    <a:pt x="114" y="398"/>
                    <a:pt x="114" y="398"/>
                  </a:cubicBezTo>
                  <a:cubicBezTo>
                    <a:pt x="114" y="208"/>
                    <a:pt x="114" y="208"/>
                    <a:pt x="114" y="208"/>
                  </a:cubicBezTo>
                  <a:cubicBezTo>
                    <a:pt x="114" y="208"/>
                    <a:pt x="152" y="208"/>
                    <a:pt x="152" y="171"/>
                  </a:cubicBezTo>
                  <a:cubicBezTo>
                    <a:pt x="152" y="38"/>
                    <a:pt x="152" y="38"/>
                    <a:pt x="152" y="38"/>
                  </a:cubicBezTo>
                  <a:cubicBezTo>
                    <a:pt x="152" y="38"/>
                    <a:pt x="152" y="0"/>
                    <a:pt x="114" y="0"/>
                  </a:cubicBezTo>
                  <a:close/>
                  <a:moveTo>
                    <a:pt x="114" y="0"/>
                  </a:moveTo>
                  <a:cubicBezTo>
                    <a:pt x="114" y="0"/>
                    <a:pt x="114" y="0"/>
                    <a:pt x="114" y="0"/>
                  </a:cubicBezTo>
                </a:path>
              </a:pathLst>
            </a:custGeom>
            <a:solidFill>
              <a:schemeClr val="l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Verdana"/>
                <a:ea typeface="Verdana"/>
                <a:cs typeface="Verdana"/>
                <a:sym typeface="Verdana"/>
              </a:endParaRPr>
            </a:p>
          </p:txBody>
        </p:sp>
        <p:sp>
          <p:nvSpPr>
            <p:cNvPr id="38" name="Google Shape;522;p6">
              <a:extLst>
                <a:ext uri="{FF2B5EF4-FFF2-40B4-BE49-F238E27FC236}">
                  <a16:creationId xmlns:a16="http://schemas.microsoft.com/office/drawing/2014/main" xmlns="" id="{AAD57373-27EA-41B5-AF88-D74F27E1CE3D}"/>
                </a:ext>
              </a:extLst>
            </p:cNvPr>
            <p:cNvSpPr/>
            <p:nvPr/>
          </p:nvSpPr>
          <p:spPr>
            <a:xfrm>
              <a:off x="3595127" y="3289276"/>
              <a:ext cx="171359" cy="129430"/>
            </a:xfrm>
            <a:custGeom>
              <a:avLst/>
              <a:gdLst/>
              <a:ahLst/>
              <a:cxnLst/>
              <a:rect l="l" t="t" r="r" b="b"/>
              <a:pathLst>
                <a:path w="114" h="114" extrusionOk="0">
                  <a:moveTo>
                    <a:pt x="27" y="104"/>
                  </a:moveTo>
                  <a:cubicBezTo>
                    <a:pt x="28" y="105"/>
                    <a:pt x="29" y="106"/>
                    <a:pt x="30" y="106"/>
                  </a:cubicBezTo>
                  <a:cubicBezTo>
                    <a:pt x="38" y="111"/>
                    <a:pt x="47" y="114"/>
                    <a:pt x="57" y="114"/>
                  </a:cubicBezTo>
                  <a:cubicBezTo>
                    <a:pt x="88" y="114"/>
                    <a:pt x="114" y="88"/>
                    <a:pt x="114" y="57"/>
                  </a:cubicBezTo>
                  <a:cubicBezTo>
                    <a:pt x="114" y="25"/>
                    <a:pt x="88" y="0"/>
                    <a:pt x="57" y="0"/>
                  </a:cubicBezTo>
                  <a:cubicBezTo>
                    <a:pt x="26" y="0"/>
                    <a:pt x="0" y="25"/>
                    <a:pt x="0" y="57"/>
                  </a:cubicBezTo>
                  <a:cubicBezTo>
                    <a:pt x="0" y="77"/>
                    <a:pt x="11" y="94"/>
                    <a:pt x="27" y="104"/>
                  </a:cubicBezTo>
                  <a:close/>
                  <a:moveTo>
                    <a:pt x="27" y="104"/>
                  </a:moveTo>
                  <a:cubicBezTo>
                    <a:pt x="27" y="104"/>
                    <a:pt x="27" y="104"/>
                    <a:pt x="27" y="104"/>
                  </a:cubicBezTo>
                </a:path>
              </a:pathLst>
            </a:custGeom>
            <a:solidFill>
              <a:schemeClr val="l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Verdana"/>
                <a:ea typeface="Verdana"/>
                <a:cs typeface="Verdana"/>
                <a:sym typeface="Verdana"/>
              </a:endParaRPr>
            </a:p>
          </p:txBody>
        </p:sp>
        <p:sp>
          <p:nvSpPr>
            <p:cNvPr id="39" name="Google Shape;523;p6">
              <a:extLst>
                <a:ext uri="{FF2B5EF4-FFF2-40B4-BE49-F238E27FC236}">
                  <a16:creationId xmlns:a16="http://schemas.microsoft.com/office/drawing/2014/main" xmlns="" id="{29E63097-C763-45C2-BBED-486DDC730B3A}"/>
                </a:ext>
              </a:extLst>
            </p:cNvPr>
            <p:cNvSpPr/>
            <p:nvPr/>
          </p:nvSpPr>
          <p:spPr>
            <a:xfrm>
              <a:off x="3367275" y="3289276"/>
              <a:ext cx="173242" cy="129430"/>
            </a:xfrm>
            <a:custGeom>
              <a:avLst/>
              <a:gdLst/>
              <a:ahLst/>
              <a:cxnLst/>
              <a:rect l="l" t="t" r="r" b="b"/>
              <a:pathLst>
                <a:path w="114" h="114" extrusionOk="0">
                  <a:moveTo>
                    <a:pt x="114" y="57"/>
                  </a:moveTo>
                  <a:cubicBezTo>
                    <a:pt x="114" y="88"/>
                    <a:pt x="88" y="114"/>
                    <a:pt x="57" y="114"/>
                  </a:cubicBezTo>
                  <a:cubicBezTo>
                    <a:pt x="25" y="114"/>
                    <a:pt x="0" y="88"/>
                    <a:pt x="0" y="57"/>
                  </a:cubicBezTo>
                  <a:cubicBezTo>
                    <a:pt x="0" y="25"/>
                    <a:pt x="25" y="0"/>
                    <a:pt x="57" y="0"/>
                  </a:cubicBezTo>
                  <a:cubicBezTo>
                    <a:pt x="88" y="0"/>
                    <a:pt x="114" y="25"/>
                    <a:pt x="114" y="57"/>
                  </a:cubicBezTo>
                  <a:close/>
                  <a:moveTo>
                    <a:pt x="114" y="57"/>
                  </a:moveTo>
                  <a:cubicBezTo>
                    <a:pt x="114" y="57"/>
                    <a:pt x="114" y="57"/>
                    <a:pt x="114" y="57"/>
                  </a:cubicBezTo>
                </a:path>
              </a:pathLst>
            </a:custGeom>
            <a:solidFill>
              <a:schemeClr val="l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Verdana"/>
                <a:ea typeface="Verdana"/>
                <a:cs typeface="Verdana"/>
                <a:sym typeface="Verdana"/>
              </a:endParaRPr>
            </a:p>
          </p:txBody>
        </p:sp>
        <p:sp>
          <p:nvSpPr>
            <p:cNvPr id="40" name="Google Shape;524;p6">
              <a:extLst>
                <a:ext uri="{FF2B5EF4-FFF2-40B4-BE49-F238E27FC236}">
                  <a16:creationId xmlns:a16="http://schemas.microsoft.com/office/drawing/2014/main" xmlns="" id="{26AA6245-7EE8-4965-AC03-07B90CF0D73B}"/>
                </a:ext>
              </a:extLst>
            </p:cNvPr>
            <p:cNvSpPr/>
            <p:nvPr/>
          </p:nvSpPr>
          <p:spPr>
            <a:xfrm>
              <a:off x="3282537" y="3438402"/>
              <a:ext cx="340835" cy="448783"/>
            </a:xfrm>
            <a:custGeom>
              <a:avLst/>
              <a:gdLst/>
              <a:ahLst/>
              <a:cxnLst/>
              <a:rect l="l" t="t" r="r" b="b"/>
              <a:pathLst>
                <a:path w="227" h="398" extrusionOk="0">
                  <a:moveTo>
                    <a:pt x="227" y="38"/>
                  </a:moveTo>
                  <a:cubicBezTo>
                    <a:pt x="227" y="38"/>
                    <a:pt x="227" y="0"/>
                    <a:pt x="189" y="0"/>
                  </a:cubicBezTo>
                  <a:cubicBezTo>
                    <a:pt x="38" y="0"/>
                    <a:pt x="38" y="0"/>
                    <a:pt x="38" y="0"/>
                  </a:cubicBezTo>
                  <a:cubicBezTo>
                    <a:pt x="38" y="0"/>
                    <a:pt x="0" y="0"/>
                    <a:pt x="0" y="38"/>
                  </a:cubicBezTo>
                  <a:cubicBezTo>
                    <a:pt x="0" y="171"/>
                    <a:pt x="0" y="171"/>
                    <a:pt x="0" y="171"/>
                  </a:cubicBezTo>
                  <a:cubicBezTo>
                    <a:pt x="0" y="208"/>
                    <a:pt x="38" y="208"/>
                    <a:pt x="38" y="208"/>
                  </a:cubicBezTo>
                  <a:cubicBezTo>
                    <a:pt x="38" y="398"/>
                    <a:pt x="38" y="398"/>
                    <a:pt x="38" y="398"/>
                  </a:cubicBezTo>
                  <a:cubicBezTo>
                    <a:pt x="189" y="398"/>
                    <a:pt x="189" y="398"/>
                    <a:pt x="189" y="398"/>
                  </a:cubicBezTo>
                  <a:cubicBezTo>
                    <a:pt x="189" y="208"/>
                    <a:pt x="189" y="208"/>
                    <a:pt x="189" y="208"/>
                  </a:cubicBezTo>
                  <a:cubicBezTo>
                    <a:pt x="189" y="208"/>
                    <a:pt x="227" y="208"/>
                    <a:pt x="227" y="171"/>
                  </a:cubicBezTo>
                  <a:lnTo>
                    <a:pt x="227" y="38"/>
                  </a:lnTo>
                  <a:close/>
                  <a:moveTo>
                    <a:pt x="227" y="38"/>
                  </a:moveTo>
                  <a:cubicBezTo>
                    <a:pt x="227" y="38"/>
                    <a:pt x="227" y="38"/>
                    <a:pt x="227" y="38"/>
                  </a:cubicBezTo>
                </a:path>
              </a:pathLst>
            </a:custGeom>
            <a:solidFill>
              <a:schemeClr val="l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Verdana"/>
                <a:ea typeface="Verdana"/>
                <a:cs typeface="Verdana"/>
                <a:sym typeface="Verdana"/>
              </a:endParaRPr>
            </a:p>
          </p:txBody>
        </p:sp>
      </p:grpSp>
      <p:sp>
        <p:nvSpPr>
          <p:cNvPr id="41" name="Google Shape;528;p6">
            <a:extLst>
              <a:ext uri="{FF2B5EF4-FFF2-40B4-BE49-F238E27FC236}">
                <a16:creationId xmlns:a16="http://schemas.microsoft.com/office/drawing/2014/main" xmlns="" id="{05FB4C5E-AAD9-4FF0-A686-236A872C8EFB}"/>
              </a:ext>
            </a:extLst>
          </p:cNvPr>
          <p:cNvSpPr/>
          <p:nvPr/>
        </p:nvSpPr>
        <p:spPr>
          <a:xfrm>
            <a:off x="1828801" y="3749935"/>
            <a:ext cx="3188122" cy="1467491"/>
          </a:xfrm>
          <a:prstGeom prst="rect">
            <a:avLst/>
          </a:prstGeom>
          <a:solidFill>
            <a:srgbClr val="A626AA">
              <a:alpha val="49803"/>
            </a:srgbClr>
          </a:solidFill>
          <a:ln w="1905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indent="0">
              <a:buNone/>
            </a:pPr>
            <a:r>
              <a:rPr lang="en-US" sz="1125" b="1" dirty="0">
                <a:solidFill>
                  <a:schemeClr val="dk1"/>
                </a:solidFill>
                <a:ea typeface="Verdana"/>
                <a:cs typeface="Verdana"/>
                <a:sym typeface="Verdana"/>
              </a:rPr>
              <a:t>Solution Design Principle</a:t>
            </a:r>
            <a:endParaRPr sz="1125" b="1" dirty="0">
              <a:solidFill>
                <a:schemeClr val="dk1"/>
              </a:solidFill>
              <a:ea typeface="Verdana"/>
              <a:cs typeface="Verdana"/>
            </a:endParaRPr>
          </a:p>
          <a:p>
            <a:pPr marL="171450" indent="-171450">
              <a:buClr>
                <a:schemeClr val="dk1"/>
              </a:buClr>
              <a:buSzPts val="1125"/>
              <a:buFont typeface="Arial"/>
              <a:buChar char="•"/>
            </a:pPr>
            <a:r>
              <a:rPr lang="en-US" sz="1125" dirty="0">
                <a:solidFill>
                  <a:schemeClr val="dk1"/>
                </a:solidFill>
                <a:ea typeface="Verdana"/>
                <a:cs typeface="Verdana"/>
                <a:sym typeface="Verdana"/>
              </a:rPr>
              <a:t>People in Neurodivergent spectrum</a:t>
            </a:r>
            <a:endParaRPr sz="1125" dirty="0">
              <a:solidFill>
                <a:schemeClr val="dk1"/>
              </a:solidFill>
              <a:ea typeface="Verdana"/>
              <a:cs typeface="Verdana"/>
            </a:endParaRPr>
          </a:p>
          <a:p>
            <a:pPr marL="0" indent="0">
              <a:buNone/>
            </a:pPr>
            <a:r>
              <a:rPr lang="en-US" sz="1125" dirty="0">
                <a:solidFill>
                  <a:schemeClr val="dk1"/>
                </a:solidFill>
                <a:ea typeface="Verdana"/>
                <a:cs typeface="Verdana"/>
                <a:sym typeface="Verdana"/>
              </a:rPr>
              <a:t>like to work in well-defined schedules</a:t>
            </a:r>
            <a:endParaRPr sz="1125" dirty="0">
              <a:solidFill>
                <a:schemeClr val="dk1"/>
              </a:solidFill>
              <a:ea typeface="Verdana"/>
              <a:cs typeface="Verdana"/>
            </a:endParaRPr>
          </a:p>
          <a:p>
            <a:pPr marL="0" indent="0">
              <a:buNone/>
            </a:pPr>
            <a:r>
              <a:rPr lang="en-US" sz="1125" dirty="0">
                <a:solidFill>
                  <a:schemeClr val="dk1"/>
                </a:solidFill>
                <a:ea typeface="Verdana"/>
                <a:cs typeface="Verdana"/>
                <a:sym typeface="Verdana"/>
              </a:rPr>
              <a:t>(</a:t>
            </a:r>
            <a:r>
              <a:rPr lang="en-IN" sz="1125" b="1" dirty="0">
                <a:solidFill>
                  <a:schemeClr val="dk1"/>
                </a:solidFill>
                <a:ea typeface="Verdana"/>
                <a:cs typeface="Verdana"/>
                <a:sym typeface="Verdana"/>
              </a:rPr>
              <a:t>structure and predictability</a:t>
            </a:r>
            <a:r>
              <a:rPr lang="en-US" sz="1125" dirty="0">
                <a:solidFill>
                  <a:schemeClr val="dk1"/>
                </a:solidFill>
                <a:ea typeface="Verdana"/>
                <a:cs typeface="Verdana"/>
                <a:sym typeface="Verdana"/>
              </a:rPr>
              <a:t>).</a:t>
            </a:r>
            <a:endParaRPr sz="1125" dirty="0">
              <a:solidFill>
                <a:schemeClr val="dk1"/>
              </a:solidFill>
              <a:ea typeface="Verdana"/>
              <a:cs typeface="Verdana"/>
            </a:endParaRPr>
          </a:p>
          <a:p>
            <a:pPr marL="171450" indent="-171450">
              <a:buClr>
                <a:schemeClr val="dk1"/>
              </a:buClr>
              <a:buSzPts val="1125"/>
              <a:buFont typeface="Arial"/>
              <a:buChar char="•"/>
            </a:pPr>
            <a:r>
              <a:rPr lang="en-US" sz="1125" dirty="0">
                <a:solidFill>
                  <a:schemeClr val="dk1"/>
                </a:solidFill>
                <a:ea typeface="Verdana"/>
                <a:cs typeface="Verdana"/>
                <a:sym typeface="Verdana"/>
              </a:rPr>
              <a:t>They are mostly visual learners, </a:t>
            </a:r>
            <a:endParaRPr sz="1125" dirty="0">
              <a:solidFill>
                <a:schemeClr val="dk1"/>
              </a:solidFill>
              <a:ea typeface="Verdana"/>
              <a:cs typeface="Verdana"/>
            </a:endParaRPr>
          </a:p>
          <a:p>
            <a:pPr marL="0" indent="0">
              <a:buNone/>
            </a:pPr>
            <a:r>
              <a:rPr lang="en-US" sz="1125" dirty="0">
                <a:solidFill>
                  <a:schemeClr val="dk1"/>
                </a:solidFill>
                <a:ea typeface="Verdana"/>
                <a:cs typeface="Verdana"/>
                <a:sym typeface="Verdana"/>
              </a:rPr>
              <a:t>Any Communication to be done in Simple </a:t>
            </a:r>
            <a:endParaRPr sz="1125" dirty="0">
              <a:solidFill>
                <a:schemeClr val="dk1"/>
              </a:solidFill>
              <a:ea typeface="Verdana"/>
              <a:cs typeface="Verdana"/>
            </a:endParaRPr>
          </a:p>
          <a:p>
            <a:pPr marL="0" indent="0">
              <a:buNone/>
            </a:pPr>
            <a:r>
              <a:rPr lang="en-US" sz="1125" dirty="0">
                <a:solidFill>
                  <a:schemeClr val="dk1"/>
                </a:solidFill>
                <a:ea typeface="Verdana"/>
                <a:cs typeface="Verdana"/>
                <a:sym typeface="Verdana"/>
              </a:rPr>
              <a:t>And visual language</a:t>
            </a:r>
            <a:endParaRPr sz="1125" dirty="0">
              <a:solidFill>
                <a:schemeClr val="dk1"/>
              </a:solidFill>
              <a:ea typeface="Verdana"/>
              <a:cs typeface="Verdana"/>
            </a:endParaRPr>
          </a:p>
          <a:p>
            <a:pPr marL="0" marR="0" lvl="0" indent="0" algn="l" rtl="0">
              <a:spcBef>
                <a:spcPts val="0"/>
              </a:spcBef>
              <a:spcAft>
                <a:spcPts val="0"/>
              </a:spcAft>
              <a:buNone/>
            </a:pPr>
            <a:endParaRPr sz="1125" b="1" dirty="0">
              <a:solidFill>
                <a:schemeClr val="dk1"/>
              </a:solidFill>
              <a:latin typeface="Verdana"/>
              <a:ea typeface="Verdana"/>
              <a:cs typeface="Verdana"/>
              <a:sym typeface="Verdana"/>
            </a:endParaRPr>
          </a:p>
          <a:p>
            <a:pPr marL="171450" marR="0" lvl="0" indent="-100012" algn="l" rtl="0">
              <a:spcBef>
                <a:spcPts val="0"/>
              </a:spcBef>
              <a:spcAft>
                <a:spcPts val="0"/>
              </a:spcAft>
              <a:buClr>
                <a:schemeClr val="dk1"/>
              </a:buClr>
              <a:buSzPts val="1125"/>
              <a:buFont typeface="Arial"/>
              <a:buNone/>
            </a:pPr>
            <a:endParaRPr sz="1125" b="1" dirty="0">
              <a:solidFill>
                <a:schemeClr val="dk1"/>
              </a:solidFill>
              <a:latin typeface="Verdana"/>
              <a:ea typeface="Verdana"/>
              <a:cs typeface="Verdana"/>
              <a:sym typeface="Verdana"/>
            </a:endParaRPr>
          </a:p>
          <a:p>
            <a:pPr marL="171450" marR="0" lvl="0" indent="-100012" algn="l" rtl="0">
              <a:spcBef>
                <a:spcPts val="0"/>
              </a:spcBef>
              <a:spcAft>
                <a:spcPts val="0"/>
              </a:spcAft>
              <a:buClr>
                <a:schemeClr val="dk1"/>
              </a:buClr>
              <a:buSzPts val="1125"/>
              <a:buFont typeface="Arial"/>
              <a:buNone/>
            </a:pPr>
            <a:endParaRPr sz="1125" b="1" dirty="0">
              <a:solidFill>
                <a:schemeClr val="dk1"/>
              </a:solidFill>
              <a:latin typeface="Verdana"/>
              <a:ea typeface="Verdana"/>
              <a:cs typeface="Verdana"/>
              <a:sym typeface="Verdana"/>
            </a:endParaRPr>
          </a:p>
          <a:p>
            <a:pPr marL="0" marR="0" lvl="0" indent="0" algn="l" rtl="0">
              <a:spcBef>
                <a:spcPts val="0"/>
              </a:spcBef>
              <a:spcAft>
                <a:spcPts val="0"/>
              </a:spcAft>
              <a:buNone/>
            </a:pPr>
            <a:endParaRPr sz="1125" b="1" dirty="0">
              <a:solidFill>
                <a:schemeClr val="dk1"/>
              </a:solidFill>
              <a:latin typeface="Verdana"/>
              <a:ea typeface="Verdana"/>
              <a:cs typeface="Verdana"/>
              <a:sym typeface="Verdana"/>
            </a:endParaRPr>
          </a:p>
          <a:p>
            <a:pPr marL="171450" marR="0" lvl="0" indent="-100012" algn="l" rtl="0">
              <a:spcBef>
                <a:spcPts val="0"/>
              </a:spcBef>
              <a:spcAft>
                <a:spcPts val="0"/>
              </a:spcAft>
              <a:buClr>
                <a:schemeClr val="dk1"/>
              </a:buClr>
              <a:buSzPts val="1125"/>
              <a:buFont typeface="Arial"/>
              <a:buNone/>
            </a:pPr>
            <a:endParaRPr sz="1125" b="1" dirty="0">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266388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xmlns="" id="{A9DE5022-8AB1-4A66-A518-29859891238E}"/>
              </a:ext>
            </a:extLst>
          </p:cNvPr>
          <p:cNvSpPr>
            <a:spLocks noGrp="1"/>
          </p:cNvSpPr>
          <p:nvPr>
            <p:ph type="body" sz="quarter" idx="10"/>
          </p:nvPr>
        </p:nvSpPr>
        <p:spPr/>
        <p:txBody>
          <a:bodyPr/>
          <a:lstStyle/>
          <a:p>
            <a:r>
              <a:rPr lang="en-GB" dirty="0"/>
              <a:t> </a:t>
            </a:r>
          </a:p>
        </p:txBody>
      </p:sp>
      <p:sp>
        <p:nvSpPr>
          <p:cNvPr id="2" name="Titre 1">
            <a:extLst>
              <a:ext uri="{FF2B5EF4-FFF2-40B4-BE49-F238E27FC236}">
                <a16:creationId xmlns:a16="http://schemas.microsoft.com/office/drawing/2014/main" xmlns="" id="{5F8C6948-1A1E-45FF-83AE-95F699C903D6}"/>
              </a:ext>
            </a:extLst>
          </p:cNvPr>
          <p:cNvSpPr>
            <a:spLocks noGrp="1"/>
          </p:cNvSpPr>
          <p:nvPr>
            <p:ph type="title"/>
          </p:nvPr>
        </p:nvSpPr>
        <p:spPr/>
        <p:txBody>
          <a:bodyPr/>
          <a:lstStyle/>
          <a:p>
            <a:pPr>
              <a:spcBef>
                <a:spcPts val="0"/>
              </a:spcBef>
              <a:buClr>
                <a:schemeClr val="dk1"/>
              </a:buClr>
              <a:buSzPts val="2400"/>
            </a:pPr>
            <a:endParaRPr lang="en-IN" dirty="0"/>
          </a:p>
        </p:txBody>
      </p:sp>
      <p:sp>
        <p:nvSpPr>
          <p:cNvPr id="34" name="Google Shape;533;p7">
            <a:extLst>
              <a:ext uri="{FF2B5EF4-FFF2-40B4-BE49-F238E27FC236}">
                <a16:creationId xmlns:a16="http://schemas.microsoft.com/office/drawing/2014/main" xmlns="" id="{5DF1E6D3-1106-4044-B327-FAC96A1CA60D}"/>
              </a:ext>
            </a:extLst>
          </p:cNvPr>
          <p:cNvSpPr/>
          <p:nvPr/>
        </p:nvSpPr>
        <p:spPr>
          <a:xfrm>
            <a:off x="759975" y="1469368"/>
            <a:ext cx="2320924" cy="3164042"/>
          </a:xfrm>
          <a:custGeom>
            <a:avLst/>
            <a:gdLst/>
            <a:ahLst/>
            <a:cxnLst/>
            <a:rect l="l" t="t" r="r" b="b"/>
            <a:pathLst>
              <a:path w="1090" h="2448" extrusionOk="0">
                <a:moveTo>
                  <a:pt x="0" y="0"/>
                </a:moveTo>
                <a:lnTo>
                  <a:pt x="960" y="0"/>
                </a:lnTo>
                <a:lnTo>
                  <a:pt x="960" y="336"/>
                </a:lnTo>
                <a:lnTo>
                  <a:pt x="1090" y="568"/>
                </a:lnTo>
                <a:lnTo>
                  <a:pt x="960" y="816"/>
                </a:lnTo>
                <a:lnTo>
                  <a:pt x="960" y="2448"/>
                </a:lnTo>
                <a:lnTo>
                  <a:pt x="0" y="2448"/>
                </a:lnTo>
                <a:lnTo>
                  <a:pt x="0" y="816"/>
                </a:lnTo>
                <a:lnTo>
                  <a:pt x="0" y="558"/>
                </a:lnTo>
                <a:lnTo>
                  <a:pt x="0" y="336"/>
                </a:lnTo>
                <a:lnTo>
                  <a:pt x="0" y="0"/>
                </a:lnTo>
                <a:close/>
              </a:path>
            </a:pathLst>
          </a:custGeom>
          <a:solidFill>
            <a:schemeClr val="lt1"/>
          </a:solidFill>
          <a:ln w="9525" cap="flat" cmpd="sng">
            <a:solidFill>
              <a:srgbClr val="0066A1"/>
            </a:solidFill>
            <a:prstDash val="solid"/>
            <a:round/>
            <a:headEnd type="none" w="sm" len="sm"/>
            <a:tailEnd type="none" w="sm" len="sm"/>
          </a:ln>
        </p:spPr>
        <p:txBody>
          <a:bodyPr spcFirstLastPara="1" wrap="square" lIns="91425" tIns="45700" rIns="91425" bIns="45700" anchor="t" anchorCtr="0">
            <a:noAutofit/>
          </a:bodyPr>
          <a:lstStyle/>
          <a:p>
            <a:pPr marL="269993" marR="0" lvl="0" indent="-179505" algn="l" rtl="0">
              <a:spcBef>
                <a:spcPts val="0"/>
              </a:spcBef>
              <a:spcAft>
                <a:spcPts val="0"/>
              </a:spcAft>
              <a:buClr>
                <a:srgbClr val="0066A1"/>
              </a:buClr>
              <a:buSzPts val="1425"/>
              <a:buFont typeface="Lucida Sans"/>
              <a:buNone/>
            </a:pPr>
            <a:endParaRPr sz="1425">
              <a:solidFill>
                <a:srgbClr val="000000"/>
              </a:solidFill>
              <a:latin typeface="Verdana"/>
              <a:ea typeface="Verdana"/>
              <a:cs typeface="Verdana"/>
              <a:sym typeface="Verdana"/>
            </a:endParaRPr>
          </a:p>
        </p:txBody>
      </p:sp>
      <p:sp>
        <p:nvSpPr>
          <p:cNvPr id="35" name="Google Shape;534;p7">
            <a:extLst>
              <a:ext uri="{FF2B5EF4-FFF2-40B4-BE49-F238E27FC236}">
                <a16:creationId xmlns:a16="http://schemas.microsoft.com/office/drawing/2014/main" xmlns="" id="{A45DD107-AAF7-4C71-946C-69E35B3A9259}"/>
              </a:ext>
            </a:extLst>
          </p:cNvPr>
          <p:cNvSpPr/>
          <p:nvPr/>
        </p:nvSpPr>
        <p:spPr>
          <a:xfrm>
            <a:off x="2957604" y="1469368"/>
            <a:ext cx="2320924" cy="3164042"/>
          </a:xfrm>
          <a:custGeom>
            <a:avLst/>
            <a:gdLst/>
            <a:ahLst/>
            <a:cxnLst/>
            <a:rect l="l" t="t" r="r" b="b"/>
            <a:pathLst>
              <a:path w="1090" h="2448" extrusionOk="0">
                <a:moveTo>
                  <a:pt x="0" y="0"/>
                </a:moveTo>
                <a:lnTo>
                  <a:pt x="960" y="0"/>
                </a:lnTo>
                <a:lnTo>
                  <a:pt x="960" y="336"/>
                </a:lnTo>
                <a:lnTo>
                  <a:pt x="1090" y="568"/>
                </a:lnTo>
                <a:lnTo>
                  <a:pt x="960" y="816"/>
                </a:lnTo>
                <a:lnTo>
                  <a:pt x="960" y="2448"/>
                </a:lnTo>
                <a:lnTo>
                  <a:pt x="0" y="2448"/>
                </a:lnTo>
                <a:lnTo>
                  <a:pt x="0" y="816"/>
                </a:lnTo>
                <a:lnTo>
                  <a:pt x="130" y="568"/>
                </a:lnTo>
                <a:lnTo>
                  <a:pt x="0" y="336"/>
                </a:lnTo>
                <a:lnTo>
                  <a:pt x="0" y="0"/>
                </a:lnTo>
                <a:close/>
              </a:path>
            </a:pathLst>
          </a:custGeom>
          <a:solidFill>
            <a:schemeClr val="lt1"/>
          </a:solidFill>
          <a:ln w="9525" cap="flat" cmpd="sng">
            <a:solidFill>
              <a:srgbClr val="0066A1"/>
            </a:solidFill>
            <a:prstDash val="solid"/>
            <a:round/>
            <a:headEnd type="none" w="sm" len="sm"/>
            <a:tailEnd type="none" w="sm" len="sm"/>
          </a:ln>
        </p:spPr>
        <p:txBody>
          <a:bodyPr spcFirstLastPara="1" wrap="square" lIns="91425" tIns="45700" rIns="91425" bIns="45700" anchor="t" anchorCtr="0">
            <a:noAutofit/>
          </a:bodyPr>
          <a:lstStyle/>
          <a:p>
            <a:pPr marL="269993" marR="0" lvl="0" indent="-193792" algn="l" rtl="0">
              <a:spcBef>
                <a:spcPts val="0"/>
              </a:spcBef>
              <a:spcAft>
                <a:spcPts val="0"/>
              </a:spcAft>
              <a:buClr>
                <a:srgbClr val="0066A1"/>
              </a:buClr>
              <a:buSzPts val="1200"/>
              <a:buFont typeface="Lucida Sans"/>
              <a:buNone/>
            </a:pPr>
            <a:endParaRPr sz="1200">
              <a:solidFill>
                <a:srgbClr val="000000"/>
              </a:solidFill>
              <a:latin typeface="Verdana"/>
              <a:ea typeface="Verdana"/>
              <a:cs typeface="Verdana"/>
              <a:sym typeface="Verdana"/>
            </a:endParaRPr>
          </a:p>
          <a:p>
            <a:pPr marL="269993" marR="0" lvl="0" indent="-269993" algn="l" rtl="0">
              <a:spcBef>
                <a:spcPts val="360"/>
              </a:spcBef>
              <a:spcAft>
                <a:spcPts val="0"/>
              </a:spcAft>
              <a:buClr>
                <a:srgbClr val="0066A1"/>
              </a:buClr>
              <a:buSzPts val="1200"/>
              <a:buFont typeface="Lucida Sans"/>
              <a:buChar char="▶"/>
            </a:pPr>
            <a:r>
              <a:rPr lang="en-US" sz="1200">
                <a:solidFill>
                  <a:srgbClr val="000000"/>
                </a:solidFill>
                <a:latin typeface="Verdana"/>
                <a:ea typeface="Verdana"/>
                <a:cs typeface="Verdana"/>
                <a:sym typeface="Verdana"/>
              </a:rPr>
              <a:t>End to end solution    for attending virtual meetings in audio, video and virtual reality mode.</a:t>
            </a:r>
            <a:endParaRPr/>
          </a:p>
          <a:p>
            <a:pPr marL="269993" marR="0" lvl="0" indent="-269993" algn="l" rtl="0">
              <a:spcBef>
                <a:spcPts val="360"/>
              </a:spcBef>
              <a:spcAft>
                <a:spcPts val="0"/>
              </a:spcAft>
              <a:buClr>
                <a:srgbClr val="0066A1"/>
              </a:buClr>
              <a:buSzPts val="1200"/>
              <a:buFont typeface="Lucida Sans"/>
              <a:buChar char="▶"/>
            </a:pPr>
            <a:r>
              <a:rPr lang="en-US" sz="1200">
                <a:solidFill>
                  <a:srgbClr val="000000"/>
                </a:solidFill>
                <a:latin typeface="Verdana"/>
                <a:ea typeface="Verdana"/>
                <a:cs typeface="Verdana"/>
                <a:sym typeface="Verdana"/>
              </a:rPr>
              <a:t>Will benefit Project teams within the organization and can  be used with Clients</a:t>
            </a:r>
            <a:endParaRPr sz="1200">
              <a:solidFill>
                <a:srgbClr val="000000"/>
              </a:solidFill>
              <a:latin typeface="Verdana"/>
              <a:ea typeface="Verdana"/>
              <a:cs typeface="Verdana"/>
              <a:sym typeface="Verdana"/>
            </a:endParaRPr>
          </a:p>
        </p:txBody>
      </p:sp>
      <p:sp>
        <p:nvSpPr>
          <p:cNvPr id="36" name="Google Shape;535;p7">
            <a:extLst>
              <a:ext uri="{FF2B5EF4-FFF2-40B4-BE49-F238E27FC236}">
                <a16:creationId xmlns:a16="http://schemas.microsoft.com/office/drawing/2014/main" xmlns="" id="{1938DE28-7CD6-4CE3-91B0-FB269ED05AF1}"/>
              </a:ext>
            </a:extLst>
          </p:cNvPr>
          <p:cNvSpPr/>
          <p:nvPr/>
        </p:nvSpPr>
        <p:spPr>
          <a:xfrm>
            <a:off x="7352864" y="1469368"/>
            <a:ext cx="2047875" cy="3164042"/>
          </a:xfrm>
          <a:custGeom>
            <a:avLst/>
            <a:gdLst/>
            <a:ahLst/>
            <a:cxnLst/>
            <a:rect l="l" t="t" r="r" b="b"/>
            <a:pathLst>
              <a:path w="1038" h="2450" extrusionOk="0">
                <a:moveTo>
                  <a:pt x="1038" y="2450"/>
                </a:moveTo>
                <a:lnTo>
                  <a:pt x="0" y="2450"/>
                </a:lnTo>
                <a:lnTo>
                  <a:pt x="0" y="817"/>
                </a:lnTo>
                <a:lnTo>
                  <a:pt x="141" y="568"/>
                </a:lnTo>
                <a:lnTo>
                  <a:pt x="0" y="336"/>
                </a:lnTo>
                <a:lnTo>
                  <a:pt x="0" y="0"/>
                </a:lnTo>
                <a:lnTo>
                  <a:pt x="1038" y="0"/>
                </a:lnTo>
                <a:lnTo>
                  <a:pt x="1038" y="2450"/>
                </a:lnTo>
                <a:close/>
              </a:path>
            </a:pathLst>
          </a:custGeom>
          <a:solidFill>
            <a:schemeClr val="lt1"/>
          </a:solidFill>
          <a:ln w="9525" cap="flat" cmpd="sng">
            <a:solidFill>
              <a:srgbClr val="0066A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600">
              <a:solidFill>
                <a:schemeClr val="dk1"/>
              </a:solidFill>
              <a:latin typeface="Verdana"/>
              <a:ea typeface="Verdana"/>
              <a:cs typeface="Verdana"/>
              <a:sym typeface="Verdana"/>
            </a:endParaRPr>
          </a:p>
          <a:p>
            <a:pPr marL="179996" marR="0" lvl="0" indent="-179996" algn="l" rtl="0">
              <a:spcBef>
                <a:spcPts val="200"/>
              </a:spcBef>
              <a:spcAft>
                <a:spcPts val="0"/>
              </a:spcAft>
              <a:buClr>
                <a:srgbClr val="0066A1"/>
              </a:buClr>
              <a:buSzPts val="1200"/>
              <a:buFont typeface="Lucida Sans"/>
              <a:buChar char="▶"/>
            </a:pPr>
            <a:r>
              <a:rPr lang="en-US" sz="1200">
                <a:solidFill>
                  <a:schemeClr val="dk1"/>
                </a:solidFill>
                <a:latin typeface="Verdana"/>
                <a:ea typeface="Verdana"/>
                <a:cs typeface="Verdana"/>
                <a:sym typeface="Verdana"/>
              </a:rPr>
              <a:t>Live Meeting text and audio transcription with visuals.</a:t>
            </a:r>
            <a:endParaRPr/>
          </a:p>
          <a:p>
            <a:pPr marL="179996" marR="0" lvl="0" indent="-103796" algn="l" rtl="0">
              <a:spcBef>
                <a:spcPts val="200"/>
              </a:spcBef>
              <a:spcAft>
                <a:spcPts val="0"/>
              </a:spcAft>
              <a:buClr>
                <a:srgbClr val="0066A1"/>
              </a:buClr>
              <a:buSzPts val="1200"/>
              <a:buFont typeface="Lucida Sans"/>
              <a:buNone/>
            </a:pPr>
            <a:endParaRPr sz="1200">
              <a:solidFill>
                <a:schemeClr val="dk1"/>
              </a:solidFill>
              <a:latin typeface="Verdana"/>
              <a:ea typeface="Verdana"/>
              <a:cs typeface="Verdana"/>
              <a:sym typeface="Verdana"/>
            </a:endParaRPr>
          </a:p>
          <a:p>
            <a:pPr marL="179996" marR="0" lvl="0" indent="-179996" algn="l" rtl="0">
              <a:spcBef>
                <a:spcPts val="200"/>
              </a:spcBef>
              <a:spcAft>
                <a:spcPts val="0"/>
              </a:spcAft>
              <a:buClr>
                <a:srgbClr val="0066A1"/>
              </a:buClr>
              <a:buSzPts val="1200"/>
              <a:buFont typeface="Lucida Sans"/>
              <a:buChar char="▶"/>
            </a:pPr>
            <a:r>
              <a:rPr lang="en-US" sz="1200">
                <a:solidFill>
                  <a:schemeClr val="dk1"/>
                </a:solidFill>
                <a:latin typeface="Verdana"/>
                <a:ea typeface="Verdana"/>
                <a:cs typeface="Verdana"/>
                <a:sym typeface="Verdana"/>
              </a:rPr>
              <a:t>Potential benefits also to hearing/visually impaired people.</a:t>
            </a:r>
            <a:endParaRPr/>
          </a:p>
        </p:txBody>
      </p:sp>
      <p:sp>
        <p:nvSpPr>
          <p:cNvPr id="37" name="Google Shape;536;p7">
            <a:extLst>
              <a:ext uri="{FF2B5EF4-FFF2-40B4-BE49-F238E27FC236}">
                <a16:creationId xmlns:a16="http://schemas.microsoft.com/office/drawing/2014/main" xmlns="" id="{E3ADFE74-92A5-4946-8E87-2F2F0E0F9DC6}"/>
              </a:ext>
            </a:extLst>
          </p:cNvPr>
          <p:cNvSpPr txBox="1"/>
          <p:nvPr/>
        </p:nvSpPr>
        <p:spPr>
          <a:xfrm>
            <a:off x="759976" y="1159410"/>
            <a:ext cx="2047875" cy="309958"/>
          </a:xfrm>
          <a:prstGeom prst="rect">
            <a:avLst/>
          </a:prstGeom>
          <a:solidFill>
            <a:srgbClr val="0066A1"/>
          </a:solidFill>
          <a:ln w="9525" cap="flat" cmpd="sng">
            <a:solidFill>
              <a:srgbClr val="0066A1"/>
            </a:solidFill>
            <a:prstDash val="solid"/>
            <a:miter lim="800000"/>
            <a:headEnd type="none" w="sm" len="sm"/>
            <a:tailEnd type="none" w="sm" len="sm"/>
          </a:ln>
        </p:spPr>
        <p:txBody>
          <a:bodyPr spcFirstLastPara="1" wrap="square" lIns="89975" tIns="46775" rIns="89975" bIns="46775" anchor="ctr" anchorCtr="0">
            <a:noAutofit/>
          </a:bodyPr>
          <a:lstStyle/>
          <a:p>
            <a:pPr marL="0" marR="0" lvl="0" indent="0" algn="ctr" rtl="0">
              <a:spcBef>
                <a:spcPts val="0"/>
              </a:spcBef>
              <a:spcAft>
                <a:spcPts val="0"/>
              </a:spcAft>
              <a:buNone/>
            </a:pPr>
            <a:r>
              <a:rPr lang="en-US" sz="1100" b="1" dirty="0">
                <a:solidFill>
                  <a:schemeClr val="lt1"/>
                </a:solidFill>
                <a:latin typeface="Verdana"/>
                <a:ea typeface="Verdana"/>
                <a:cs typeface="Verdana"/>
                <a:sym typeface="Verdana"/>
              </a:rPr>
              <a:t>Interview Process</a:t>
            </a:r>
            <a:endParaRPr dirty="0"/>
          </a:p>
        </p:txBody>
      </p:sp>
      <p:sp>
        <p:nvSpPr>
          <p:cNvPr id="38" name="Google Shape;537;p7">
            <a:extLst>
              <a:ext uri="{FF2B5EF4-FFF2-40B4-BE49-F238E27FC236}">
                <a16:creationId xmlns:a16="http://schemas.microsoft.com/office/drawing/2014/main" xmlns="" id="{E4E2CD0E-E7BC-4F85-84A6-5DDF16BE5D2D}"/>
              </a:ext>
            </a:extLst>
          </p:cNvPr>
          <p:cNvSpPr txBox="1"/>
          <p:nvPr/>
        </p:nvSpPr>
        <p:spPr>
          <a:xfrm>
            <a:off x="2953373" y="1159410"/>
            <a:ext cx="2047875" cy="309958"/>
          </a:xfrm>
          <a:prstGeom prst="rect">
            <a:avLst/>
          </a:prstGeom>
          <a:solidFill>
            <a:srgbClr val="0066A1"/>
          </a:solidFill>
          <a:ln w="9525" cap="flat" cmpd="sng">
            <a:solidFill>
              <a:srgbClr val="0066A1"/>
            </a:solidFill>
            <a:prstDash val="solid"/>
            <a:miter lim="800000"/>
            <a:headEnd type="none" w="sm" len="sm"/>
            <a:tailEnd type="none" w="sm" len="sm"/>
          </a:ln>
        </p:spPr>
        <p:txBody>
          <a:bodyPr spcFirstLastPara="1" wrap="square" lIns="89975" tIns="46775" rIns="89975" bIns="46775" anchor="ctr" anchorCtr="0">
            <a:noAutofit/>
          </a:bodyPr>
          <a:lstStyle/>
          <a:p>
            <a:pPr marL="0" marR="0" lvl="0" indent="0" algn="ctr" rtl="0">
              <a:spcBef>
                <a:spcPts val="0"/>
              </a:spcBef>
              <a:spcAft>
                <a:spcPts val="0"/>
              </a:spcAft>
              <a:buNone/>
            </a:pPr>
            <a:r>
              <a:rPr lang="en-US" sz="1100" b="1">
                <a:solidFill>
                  <a:schemeClr val="lt1"/>
                </a:solidFill>
                <a:latin typeface="Verdana"/>
                <a:ea typeface="Verdana"/>
                <a:cs typeface="Verdana"/>
                <a:sym typeface="Verdana"/>
              </a:rPr>
              <a:t>Virtual Meetings</a:t>
            </a:r>
            <a:endParaRPr/>
          </a:p>
        </p:txBody>
      </p:sp>
      <p:sp>
        <p:nvSpPr>
          <p:cNvPr id="39" name="Google Shape;538;p7">
            <a:extLst>
              <a:ext uri="{FF2B5EF4-FFF2-40B4-BE49-F238E27FC236}">
                <a16:creationId xmlns:a16="http://schemas.microsoft.com/office/drawing/2014/main" xmlns="" id="{BF6393CF-5A4B-4A3D-AC35-3FA1814FBEAE}"/>
              </a:ext>
            </a:extLst>
          </p:cNvPr>
          <p:cNvSpPr txBox="1"/>
          <p:nvPr/>
        </p:nvSpPr>
        <p:spPr>
          <a:xfrm>
            <a:off x="5153119" y="1159410"/>
            <a:ext cx="2047875" cy="309958"/>
          </a:xfrm>
          <a:prstGeom prst="rect">
            <a:avLst/>
          </a:prstGeom>
          <a:solidFill>
            <a:srgbClr val="0066A1"/>
          </a:solidFill>
          <a:ln w="9525" cap="flat" cmpd="sng">
            <a:solidFill>
              <a:srgbClr val="0066A1"/>
            </a:solidFill>
            <a:prstDash val="solid"/>
            <a:miter lim="800000"/>
            <a:headEnd type="none" w="sm" len="sm"/>
            <a:tailEnd type="none" w="sm" len="sm"/>
          </a:ln>
        </p:spPr>
        <p:txBody>
          <a:bodyPr spcFirstLastPara="1" wrap="square" lIns="89975" tIns="46775" rIns="89975" bIns="46775" anchor="ctr" anchorCtr="0">
            <a:noAutofit/>
          </a:bodyPr>
          <a:lstStyle/>
          <a:p>
            <a:pPr marL="0" marR="0" lvl="0" indent="0" algn="ctr" rtl="0">
              <a:spcBef>
                <a:spcPts val="0"/>
              </a:spcBef>
              <a:spcAft>
                <a:spcPts val="0"/>
              </a:spcAft>
              <a:buNone/>
            </a:pPr>
            <a:r>
              <a:rPr lang="en-US" sz="1100" b="1">
                <a:solidFill>
                  <a:schemeClr val="lt1"/>
                </a:solidFill>
                <a:latin typeface="Verdana"/>
                <a:ea typeface="Verdana"/>
                <a:cs typeface="Verdana"/>
                <a:sym typeface="Verdana"/>
              </a:rPr>
              <a:t>Notes - Reminders</a:t>
            </a:r>
            <a:endParaRPr/>
          </a:p>
        </p:txBody>
      </p:sp>
      <p:sp>
        <p:nvSpPr>
          <p:cNvPr id="40" name="Google Shape;539;p7">
            <a:extLst>
              <a:ext uri="{FF2B5EF4-FFF2-40B4-BE49-F238E27FC236}">
                <a16:creationId xmlns:a16="http://schemas.microsoft.com/office/drawing/2014/main" xmlns="" id="{0B5C61FA-4F9D-4C35-8E55-DD2BDD10BB37}"/>
              </a:ext>
            </a:extLst>
          </p:cNvPr>
          <p:cNvSpPr txBox="1"/>
          <p:nvPr/>
        </p:nvSpPr>
        <p:spPr>
          <a:xfrm>
            <a:off x="7352864" y="1159410"/>
            <a:ext cx="2047875" cy="491572"/>
          </a:xfrm>
          <a:prstGeom prst="rect">
            <a:avLst/>
          </a:prstGeom>
          <a:solidFill>
            <a:srgbClr val="0066A1"/>
          </a:solidFill>
          <a:ln w="9525" cap="flat" cmpd="sng">
            <a:solidFill>
              <a:srgbClr val="0066A1"/>
            </a:solidFill>
            <a:prstDash val="solid"/>
            <a:miter lim="800000"/>
            <a:headEnd type="none" w="sm" len="sm"/>
            <a:tailEnd type="none" w="sm" len="sm"/>
          </a:ln>
        </p:spPr>
        <p:txBody>
          <a:bodyPr spcFirstLastPara="1" wrap="square" lIns="89975" tIns="46775" rIns="89975" bIns="46775" anchor="ctr" anchorCtr="0">
            <a:noAutofit/>
          </a:bodyPr>
          <a:lstStyle/>
          <a:p>
            <a:pPr marL="0" marR="0" lvl="0" indent="0" algn="ctr" rtl="0">
              <a:spcBef>
                <a:spcPts val="0"/>
              </a:spcBef>
              <a:spcAft>
                <a:spcPts val="0"/>
              </a:spcAft>
              <a:buNone/>
            </a:pPr>
            <a:r>
              <a:rPr lang="en-US" sz="1100" b="1">
                <a:solidFill>
                  <a:schemeClr val="lt1"/>
                </a:solidFill>
                <a:latin typeface="Verdana"/>
                <a:ea typeface="Verdana"/>
                <a:cs typeface="Verdana"/>
                <a:sym typeface="Verdana"/>
              </a:rPr>
              <a:t>Unable to read, remember and analyze</a:t>
            </a:r>
            <a:endParaRPr/>
          </a:p>
        </p:txBody>
      </p:sp>
      <p:sp>
        <p:nvSpPr>
          <p:cNvPr id="41" name="Google Shape;540;p7">
            <a:extLst>
              <a:ext uri="{FF2B5EF4-FFF2-40B4-BE49-F238E27FC236}">
                <a16:creationId xmlns:a16="http://schemas.microsoft.com/office/drawing/2014/main" xmlns="" id="{52E40B5A-8CF2-4635-BC12-B61005492B57}"/>
              </a:ext>
            </a:extLst>
          </p:cNvPr>
          <p:cNvSpPr/>
          <p:nvPr/>
        </p:nvSpPr>
        <p:spPr>
          <a:xfrm>
            <a:off x="5149371" y="1509047"/>
            <a:ext cx="2376302" cy="3164042"/>
          </a:xfrm>
          <a:custGeom>
            <a:avLst/>
            <a:gdLst/>
            <a:ahLst/>
            <a:cxnLst/>
            <a:rect l="l" t="t" r="r" b="b"/>
            <a:pathLst>
              <a:path w="1090" h="2448" extrusionOk="0">
                <a:moveTo>
                  <a:pt x="0" y="0"/>
                </a:moveTo>
                <a:lnTo>
                  <a:pt x="960" y="0"/>
                </a:lnTo>
                <a:lnTo>
                  <a:pt x="960" y="336"/>
                </a:lnTo>
                <a:lnTo>
                  <a:pt x="1090" y="568"/>
                </a:lnTo>
                <a:lnTo>
                  <a:pt x="960" y="816"/>
                </a:lnTo>
                <a:lnTo>
                  <a:pt x="960" y="2448"/>
                </a:lnTo>
                <a:lnTo>
                  <a:pt x="0" y="2448"/>
                </a:lnTo>
                <a:lnTo>
                  <a:pt x="0" y="816"/>
                </a:lnTo>
                <a:lnTo>
                  <a:pt x="130" y="568"/>
                </a:lnTo>
                <a:lnTo>
                  <a:pt x="0" y="336"/>
                </a:lnTo>
                <a:lnTo>
                  <a:pt x="0" y="0"/>
                </a:lnTo>
                <a:close/>
              </a:path>
            </a:pathLst>
          </a:custGeom>
          <a:solidFill>
            <a:schemeClr val="lt1"/>
          </a:solidFill>
          <a:ln w="9525" cap="flat" cmpd="sng">
            <a:solidFill>
              <a:srgbClr val="0066A1"/>
            </a:solidFill>
            <a:prstDash val="solid"/>
            <a:round/>
            <a:headEnd type="none" w="sm" len="sm"/>
            <a:tailEnd type="none" w="sm" len="sm"/>
          </a:ln>
        </p:spPr>
        <p:txBody>
          <a:bodyPr spcFirstLastPara="1" wrap="square" lIns="91425" tIns="45700" rIns="91425" bIns="45700" anchor="t" anchorCtr="0">
            <a:noAutofit/>
          </a:bodyPr>
          <a:lstStyle/>
          <a:p>
            <a:pPr marL="269993" marR="0" lvl="0" indent="-193792" algn="l" rtl="0">
              <a:spcBef>
                <a:spcPts val="0"/>
              </a:spcBef>
              <a:spcAft>
                <a:spcPts val="0"/>
              </a:spcAft>
              <a:buClr>
                <a:srgbClr val="0066A1"/>
              </a:buClr>
              <a:buSzPts val="1200"/>
              <a:buFont typeface="Lucida Sans"/>
              <a:buNone/>
            </a:pPr>
            <a:endParaRPr sz="1200" dirty="0">
              <a:solidFill>
                <a:srgbClr val="000000"/>
              </a:solidFill>
              <a:latin typeface="Verdana"/>
              <a:ea typeface="Verdana"/>
              <a:cs typeface="Verdana"/>
              <a:sym typeface="Verdana"/>
            </a:endParaRPr>
          </a:p>
          <a:p>
            <a:pPr marL="269993" marR="0" lvl="0" indent="-269993" algn="l" rtl="0">
              <a:spcBef>
                <a:spcPts val="360"/>
              </a:spcBef>
              <a:spcAft>
                <a:spcPts val="0"/>
              </a:spcAft>
              <a:buClr>
                <a:srgbClr val="0066A1"/>
              </a:buClr>
              <a:buSzPts val="1200"/>
              <a:buFont typeface="Lucida Sans"/>
              <a:buChar char="▶"/>
            </a:pPr>
            <a:r>
              <a:rPr lang="en-US" sz="1200" dirty="0">
                <a:solidFill>
                  <a:srgbClr val="000000"/>
                </a:solidFill>
                <a:latin typeface="Verdana"/>
                <a:ea typeface="Verdana"/>
                <a:cs typeface="Verdana"/>
                <a:sym typeface="Verdana"/>
              </a:rPr>
              <a:t>Tool uses AI in order    to send meeting notes directly to mailbox.</a:t>
            </a:r>
            <a:endParaRPr dirty="0"/>
          </a:p>
          <a:p>
            <a:pPr marL="269993" marR="0" lvl="0" indent="-269993" algn="l" rtl="0">
              <a:spcBef>
                <a:spcPts val="360"/>
              </a:spcBef>
              <a:spcAft>
                <a:spcPts val="0"/>
              </a:spcAft>
              <a:buClr>
                <a:srgbClr val="0066A1"/>
              </a:buClr>
              <a:buSzPts val="1200"/>
              <a:buFont typeface="Lucida Sans"/>
              <a:buChar char="▶"/>
            </a:pPr>
            <a:r>
              <a:rPr lang="en-US" sz="1200" dirty="0">
                <a:solidFill>
                  <a:srgbClr val="000000"/>
                </a:solidFill>
                <a:latin typeface="Verdana"/>
                <a:ea typeface="Verdana"/>
                <a:cs typeface="Verdana"/>
                <a:sym typeface="Verdana"/>
              </a:rPr>
              <a:t>Visual Reminders.</a:t>
            </a:r>
            <a:endParaRPr dirty="0"/>
          </a:p>
          <a:p>
            <a:pPr marL="269993" marR="0" lvl="0" indent="-269993" algn="l" rtl="0">
              <a:spcBef>
                <a:spcPts val="360"/>
              </a:spcBef>
              <a:spcAft>
                <a:spcPts val="0"/>
              </a:spcAft>
              <a:buClr>
                <a:srgbClr val="0066A1"/>
              </a:buClr>
              <a:buSzPts val="1200"/>
              <a:buFont typeface="Lucida Sans"/>
              <a:buChar char="▶"/>
            </a:pPr>
            <a:r>
              <a:rPr lang="en-US" sz="1200" dirty="0">
                <a:solidFill>
                  <a:srgbClr val="000000"/>
                </a:solidFill>
                <a:latin typeface="Verdana"/>
                <a:ea typeface="Verdana"/>
                <a:cs typeface="Verdana"/>
                <a:sym typeface="Verdana"/>
              </a:rPr>
              <a:t>Identify behavioral pattern of team members via AI such that all are can see behavior patterns</a:t>
            </a:r>
            <a:endParaRPr sz="1200" dirty="0">
              <a:solidFill>
                <a:srgbClr val="000000"/>
              </a:solidFill>
              <a:latin typeface="Verdana"/>
              <a:ea typeface="Verdana"/>
              <a:cs typeface="Verdana"/>
              <a:sym typeface="Verdana"/>
            </a:endParaRPr>
          </a:p>
        </p:txBody>
      </p:sp>
      <p:sp>
        <p:nvSpPr>
          <p:cNvPr id="42" name="Google Shape;541;p7">
            <a:extLst>
              <a:ext uri="{FF2B5EF4-FFF2-40B4-BE49-F238E27FC236}">
                <a16:creationId xmlns:a16="http://schemas.microsoft.com/office/drawing/2014/main" xmlns="" id="{42A6DC9B-0F03-4F3F-B07D-D5A2C40C089E}"/>
              </a:ext>
            </a:extLst>
          </p:cNvPr>
          <p:cNvSpPr txBox="1">
            <a:spLocks/>
          </p:cNvSpPr>
          <p:nvPr/>
        </p:nvSpPr>
        <p:spPr>
          <a:xfrm>
            <a:off x="736074" y="444640"/>
            <a:ext cx="8748000" cy="771022"/>
          </a:xfrm>
          <a:prstGeom prst="rect">
            <a:avLst/>
          </a:prstGeom>
          <a:noFill/>
          <a:ln>
            <a:noFill/>
          </a:ln>
        </p:spPr>
        <p:txBody>
          <a:bodyPr spcFirstLastPara="1" wrap="square" lIns="91425" tIns="45700" rIns="91425" bIns="4570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j-lt"/>
                <a:ea typeface="+mj-ea"/>
                <a:cs typeface="+mj-cs"/>
              </a:defRPr>
            </a:lvl1pPr>
          </a:lstStyle>
          <a:p>
            <a:pPr>
              <a:spcBef>
                <a:spcPts val="0"/>
              </a:spcBef>
              <a:buClr>
                <a:schemeClr val="dk1"/>
              </a:buClr>
              <a:buSzPts val="2400"/>
              <a:buFont typeface="Verdana"/>
              <a:buNone/>
            </a:pPr>
            <a:r>
              <a:rPr lang="en-IN" dirty="0"/>
              <a:t>Potential barriers addressed by tool</a:t>
            </a:r>
          </a:p>
        </p:txBody>
      </p:sp>
      <p:sp>
        <p:nvSpPr>
          <p:cNvPr id="43" name="Google Shape;542;p7">
            <a:extLst>
              <a:ext uri="{FF2B5EF4-FFF2-40B4-BE49-F238E27FC236}">
                <a16:creationId xmlns:a16="http://schemas.microsoft.com/office/drawing/2014/main" xmlns="" id="{21646AE8-AC5F-4A77-B80F-7978456B3092}"/>
              </a:ext>
            </a:extLst>
          </p:cNvPr>
          <p:cNvSpPr/>
          <p:nvPr/>
        </p:nvSpPr>
        <p:spPr>
          <a:xfrm>
            <a:off x="759976" y="4504135"/>
            <a:ext cx="8640763" cy="296465"/>
          </a:xfrm>
          <a:prstGeom prst="rect">
            <a:avLst/>
          </a:prstGeom>
          <a:solidFill>
            <a:srgbClr val="829DC7"/>
          </a:solidFill>
          <a:ln w="9525" cap="flat" cmpd="sng">
            <a:solidFill>
              <a:schemeClr val="accent2"/>
            </a:solidFill>
            <a:prstDash val="solid"/>
            <a:miter lim="800000"/>
            <a:headEnd type="none" w="sm" len="sm"/>
            <a:tailEnd type="none" w="sm" len="sm"/>
          </a:ln>
        </p:spPr>
        <p:txBody>
          <a:bodyPr spcFirstLastPara="1" wrap="square" lIns="71975" tIns="71975" rIns="71975" bIns="71975" anchor="ctr" anchorCtr="0">
            <a:noAutofit/>
          </a:bodyPr>
          <a:lstStyle/>
          <a:p>
            <a:pPr marL="0" marR="0" lvl="0" indent="0" algn="ctr" rtl="0">
              <a:spcBef>
                <a:spcPts val="0"/>
              </a:spcBef>
              <a:spcAft>
                <a:spcPts val="0"/>
              </a:spcAft>
              <a:buClr>
                <a:schemeClr val="lt1"/>
              </a:buClr>
              <a:buSzPts val="1425"/>
              <a:buFont typeface="Noto Sans Symbols"/>
              <a:buNone/>
            </a:pPr>
            <a:r>
              <a:rPr lang="en-US" sz="1425" b="1" dirty="0">
                <a:solidFill>
                  <a:schemeClr val="lt1"/>
                </a:solidFill>
                <a:latin typeface="Verdana"/>
                <a:ea typeface="Verdana"/>
                <a:cs typeface="Verdana"/>
                <a:sym typeface="Verdana"/>
              </a:rPr>
              <a:t>Neurodivergent people are not different, but they think differently</a:t>
            </a:r>
            <a:endParaRPr dirty="0"/>
          </a:p>
        </p:txBody>
      </p:sp>
      <p:sp>
        <p:nvSpPr>
          <p:cNvPr id="44" name="Google Shape;544;p7" descr="Radio microphone">
            <a:hlinkClick r:id="rId2" action="ppaction://hlinksldjump"/>
            <a:extLst>
              <a:ext uri="{FF2B5EF4-FFF2-40B4-BE49-F238E27FC236}">
                <a16:creationId xmlns:a16="http://schemas.microsoft.com/office/drawing/2014/main" xmlns="" id="{53700836-304D-4614-A2FB-FEBC07BAC095}"/>
              </a:ext>
            </a:extLst>
          </p:cNvPr>
          <p:cNvSpPr/>
          <p:nvPr/>
        </p:nvSpPr>
        <p:spPr>
          <a:xfrm>
            <a:off x="1634982" y="3770691"/>
            <a:ext cx="491572" cy="491572"/>
          </a:xfrm>
          <a:prstGeom prst="rect">
            <a:avLst/>
          </a:prstGeom>
          <a:blipFill rotWithShape="1">
            <a:blip r:embed="rId3">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545;p7">
            <a:extLst>
              <a:ext uri="{FF2B5EF4-FFF2-40B4-BE49-F238E27FC236}">
                <a16:creationId xmlns:a16="http://schemas.microsoft.com/office/drawing/2014/main" xmlns="" id="{CC9DE746-19C7-4F69-81C6-D4AEA9A00A7E}"/>
              </a:ext>
            </a:extLst>
          </p:cNvPr>
          <p:cNvSpPr/>
          <p:nvPr/>
        </p:nvSpPr>
        <p:spPr>
          <a:xfrm>
            <a:off x="757859" y="1424545"/>
            <a:ext cx="2047875" cy="2041585"/>
          </a:xfrm>
          <a:prstGeom prst="rect">
            <a:avLst/>
          </a:prstGeom>
          <a:noFill/>
          <a:ln>
            <a:noFill/>
          </a:ln>
        </p:spPr>
        <p:txBody>
          <a:bodyPr spcFirstLastPara="1" wrap="square" lIns="91425" tIns="45700" rIns="91425" bIns="45700" anchor="t" anchorCtr="0">
            <a:spAutoFit/>
          </a:bodyPr>
          <a:lstStyle/>
          <a:p>
            <a:pPr marL="179996" marR="0" lvl="0" indent="-103796" algn="l" rtl="0">
              <a:spcBef>
                <a:spcPts val="0"/>
              </a:spcBef>
              <a:spcAft>
                <a:spcPts val="0"/>
              </a:spcAft>
              <a:buClr>
                <a:srgbClr val="0066A1"/>
              </a:buClr>
              <a:buSzPts val="1200"/>
              <a:buFont typeface="Lucida Sans"/>
              <a:buNone/>
            </a:pPr>
            <a:endParaRPr sz="1200" dirty="0">
              <a:solidFill>
                <a:schemeClr val="dk1"/>
              </a:solidFill>
              <a:latin typeface="Verdana"/>
              <a:ea typeface="Verdana"/>
              <a:cs typeface="Verdana"/>
              <a:sym typeface="Verdana"/>
            </a:endParaRPr>
          </a:p>
          <a:p>
            <a:pPr marL="179996" marR="0" lvl="0" indent="-179996" algn="l" rtl="0">
              <a:spcBef>
                <a:spcPts val="200"/>
              </a:spcBef>
              <a:spcAft>
                <a:spcPts val="0"/>
              </a:spcAft>
              <a:buClr>
                <a:srgbClr val="0066A1"/>
              </a:buClr>
              <a:buSzPts val="1200"/>
              <a:buFont typeface="Lucida Sans"/>
              <a:buChar char="▶"/>
            </a:pPr>
            <a:r>
              <a:rPr lang="en-US" sz="1200" dirty="0">
                <a:solidFill>
                  <a:schemeClr val="dk1"/>
                </a:solidFill>
                <a:latin typeface="Verdana"/>
                <a:ea typeface="Verdana"/>
                <a:cs typeface="Verdana"/>
                <a:sym typeface="Verdana"/>
              </a:rPr>
              <a:t>End to end solution for scheduling and conducting interviews.</a:t>
            </a:r>
            <a:endParaRPr dirty="0"/>
          </a:p>
          <a:p>
            <a:pPr marL="179996" marR="0" lvl="0" indent="-179996" algn="l" rtl="0">
              <a:spcBef>
                <a:spcPts val="200"/>
              </a:spcBef>
              <a:spcAft>
                <a:spcPts val="0"/>
              </a:spcAft>
              <a:buClr>
                <a:srgbClr val="0066A1"/>
              </a:buClr>
              <a:buSzPts val="1200"/>
              <a:buFont typeface="Lucida Sans"/>
              <a:buChar char="▶"/>
            </a:pPr>
            <a:r>
              <a:rPr lang="en-US" sz="1200" dirty="0">
                <a:solidFill>
                  <a:schemeClr val="dk1"/>
                </a:solidFill>
                <a:latin typeface="Verdana"/>
                <a:ea typeface="Verdana"/>
                <a:cs typeface="Verdana"/>
                <a:sym typeface="Verdana"/>
              </a:rPr>
              <a:t>Potential benefits to Interviewee and Interviewer .</a:t>
            </a:r>
            <a:endParaRPr dirty="0"/>
          </a:p>
          <a:p>
            <a:pPr marL="179996" marR="0" lvl="0" indent="-103796" algn="l" rtl="0">
              <a:spcBef>
                <a:spcPts val="200"/>
              </a:spcBef>
              <a:spcAft>
                <a:spcPts val="0"/>
              </a:spcAft>
              <a:buClr>
                <a:srgbClr val="0066A1"/>
              </a:buClr>
              <a:buSzPts val="1200"/>
              <a:buFont typeface="Lucida Sans"/>
              <a:buNone/>
            </a:pPr>
            <a:endParaRPr sz="1200" dirty="0">
              <a:solidFill>
                <a:schemeClr val="dk1"/>
              </a:solidFill>
              <a:latin typeface="Verdana"/>
              <a:ea typeface="Verdana"/>
              <a:cs typeface="Verdana"/>
              <a:sym typeface="Verdana"/>
            </a:endParaRPr>
          </a:p>
          <a:p>
            <a:pPr marL="179996" marR="0" lvl="0" indent="-103796" algn="l" rtl="0">
              <a:spcBef>
                <a:spcPts val="200"/>
              </a:spcBef>
              <a:spcAft>
                <a:spcPts val="0"/>
              </a:spcAft>
              <a:buClr>
                <a:srgbClr val="0066A1"/>
              </a:buClr>
              <a:buSzPts val="1200"/>
              <a:buFont typeface="Lucida Sans"/>
              <a:buNone/>
            </a:pPr>
            <a:endParaRPr sz="1200" dirty="0">
              <a:solidFill>
                <a:schemeClr val="dk1"/>
              </a:solidFill>
              <a:latin typeface="Verdana"/>
              <a:ea typeface="Verdana"/>
              <a:cs typeface="Verdana"/>
              <a:sym typeface="Verdana"/>
            </a:endParaRPr>
          </a:p>
        </p:txBody>
      </p:sp>
      <p:sp>
        <p:nvSpPr>
          <p:cNvPr id="46" name="Google Shape;547;p7" descr="Meeting">
            <a:hlinkClick r:id="rId4" action="ppaction://hlinksldjump"/>
            <a:extLst>
              <a:ext uri="{FF2B5EF4-FFF2-40B4-BE49-F238E27FC236}">
                <a16:creationId xmlns:a16="http://schemas.microsoft.com/office/drawing/2014/main" xmlns="" id="{A6989584-6234-4CE5-B597-4FFEBB22BCB4}"/>
              </a:ext>
            </a:extLst>
          </p:cNvPr>
          <p:cNvSpPr/>
          <p:nvPr/>
        </p:nvSpPr>
        <p:spPr>
          <a:xfrm>
            <a:off x="3659310" y="3711683"/>
            <a:ext cx="491572" cy="491572"/>
          </a:xfrm>
          <a:prstGeom prst="rect">
            <a:avLst/>
          </a:prstGeom>
          <a:blipFill rotWithShape="1">
            <a:blip r:embed="rId5">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50;p7" descr="Bell">
            <a:extLst>
              <a:ext uri="{FF2B5EF4-FFF2-40B4-BE49-F238E27FC236}">
                <a16:creationId xmlns:a16="http://schemas.microsoft.com/office/drawing/2014/main" xmlns="" id="{AA2E0A8E-DB47-4BAB-ABF7-7FF25E6BF0A3}"/>
              </a:ext>
            </a:extLst>
          </p:cNvPr>
          <p:cNvSpPr/>
          <p:nvPr/>
        </p:nvSpPr>
        <p:spPr>
          <a:xfrm>
            <a:off x="6027470" y="3733283"/>
            <a:ext cx="491572" cy="491572"/>
          </a:xfrm>
          <a:prstGeom prst="rect">
            <a:avLst/>
          </a:prstGeom>
          <a:blipFill rotWithShape="1">
            <a:blip r:embed="rId6">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51;p7" descr="PostitNotes2">
            <a:extLst>
              <a:ext uri="{FF2B5EF4-FFF2-40B4-BE49-F238E27FC236}">
                <a16:creationId xmlns:a16="http://schemas.microsoft.com/office/drawing/2014/main" xmlns="" id="{542345E8-3090-4D9E-B332-C14DEBE6E4BB}"/>
              </a:ext>
            </a:extLst>
          </p:cNvPr>
          <p:cNvSpPr/>
          <p:nvPr/>
        </p:nvSpPr>
        <p:spPr>
          <a:xfrm>
            <a:off x="8130634" y="3748954"/>
            <a:ext cx="491572" cy="491572"/>
          </a:xfrm>
          <a:prstGeom prst="rect">
            <a:avLst/>
          </a:prstGeom>
          <a:blipFill rotWithShape="1">
            <a:blip r:embed="rId7">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98745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Sprint 2021_PPT_Template_v1.potx" id="{A1646E8B-D005-4DB4-BF88-7C19EA4089F4}" vid="{5F1D5FFD-A3D8-45E6-8FDA-04774BBABA59}"/>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print 2021_PPT_Template_v1.potx" id="{A1646E8B-D005-4DB4-BF88-7C19EA4089F4}" vid="{DC8FC486-E38E-4C32-A5EF-5A6044C48162}"/>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35D6E629E9BD642AE209729F090245C" ma:contentTypeVersion="10" ma:contentTypeDescription="Create a new document." ma:contentTypeScope="" ma:versionID="f04c0ab7ae1f10ba420efd113e304fd0">
  <xsd:schema xmlns:xsd="http://www.w3.org/2001/XMLSchema" xmlns:xs="http://www.w3.org/2001/XMLSchema" xmlns:p="http://schemas.microsoft.com/office/2006/metadata/properties" xmlns:ns2="553938f4-cfa9-4fe5-910f-9a264f1c2655" xmlns:ns3="4baf478c-dd85-4756-b9ad-2a8f5abf4042" targetNamespace="http://schemas.microsoft.com/office/2006/metadata/properties" ma:root="true" ma:fieldsID="aa46507aebc5c005ccf1fe190c8a0461" ns2:_="" ns3:_="">
    <xsd:import namespace="553938f4-cfa9-4fe5-910f-9a264f1c2655"/>
    <xsd:import namespace="4baf478c-dd85-4756-b9ad-2a8f5abf404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3938f4-cfa9-4fe5-910f-9a264f1c26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baf478c-dd85-4756-b9ad-2a8f5abf404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s>
</ds:datastoreItem>
</file>

<file path=customXml/itemProps3.xml><?xml version="1.0" encoding="utf-8"?>
<ds:datastoreItem xmlns:ds="http://schemas.openxmlformats.org/officeDocument/2006/customXml" ds:itemID="{776E2729-A9B5-49FE-99E4-D539B73071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3938f4-cfa9-4fe5-910f-9a264f1c2655"/>
    <ds:schemaRef ds:uri="4baf478c-dd85-4756-b9ad-2a8f5abf40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apgemini Master 2021</Template>
  <TotalTime>194</TotalTime>
  <Words>905</Words>
  <Application>Microsoft Office PowerPoint</Application>
  <PresentationFormat>Widescreen</PresentationFormat>
  <Paragraphs>190</Paragraphs>
  <Slides>21</Slides>
  <Notes>7</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4" baseType="lpstr">
      <vt:lpstr>Noto Sans Symbols</vt:lpstr>
      <vt:lpstr>Ubuntu Light</vt:lpstr>
      <vt:lpstr>Arial</vt:lpstr>
      <vt:lpstr>Verdana</vt:lpstr>
      <vt:lpstr>Lucida Sans</vt:lpstr>
      <vt:lpstr>Twentieth Century</vt:lpstr>
      <vt:lpstr>Calibri</vt:lpstr>
      <vt:lpstr>Ubuntu</vt:lpstr>
      <vt:lpstr>Wingdings</vt:lpstr>
      <vt:lpstr>Ubuntu Medium</vt:lpstr>
      <vt:lpstr>Capgemini Master 2021</vt:lpstr>
      <vt:lpstr>Cover options_Section</vt:lpstr>
      <vt:lpstr>think-cell Slide</vt:lpstr>
      <vt:lpstr>TECH4POSITIVE FUTURES</vt:lpstr>
      <vt:lpstr>Providing Inclusive work environment for people in the autism spectrum   Team Ummeed  Ashish Kaul Sangeetha SelvakumaR Vignesh J Nithya Sagar Naveen roopali</vt:lpstr>
      <vt:lpstr>PowerPoint Presentation</vt:lpstr>
      <vt:lpstr>CURRENT SCENARIO</vt:lpstr>
      <vt:lpstr>PowerPoint Presentation</vt:lpstr>
      <vt:lpstr>Table  of contents</vt:lpstr>
      <vt:lpstr>Neurodiversity - Definition </vt:lpstr>
      <vt:lpstr>Introduction – The Future is Inclusive</vt:lpstr>
      <vt:lpstr>PowerPoint Presentation</vt:lpstr>
      <vt:lpstr>PowerPoint Presentation</vt:lpstr>
      <vt:lpstr>PowerPoint Presentation</vt:lpstr>
      <vt:lpstr>PowerPoint Presentation</vt:lpstr>
      <vt:lpstr> Autism Scenario – Virtual Team Meeting</vt:lpstr>
      <vt:lpstr>UNICOM Meeting Planner</vt:lpstr>
      <vt:lpstr>PowerPoint Presentation</vt:lpstr>
      <vt:lpstr>PowerPoint Presentation</vt:lpstr>
      <vt:lpstr>HOW TO IMPLEMENT?</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template</dc:subject>
  <dc:creator>Banerjee, Subhamoy</dc:creator>
  <cp:lastModifiedBy>vky</cp:lastModifiedBy>
  <cp:revision>19</cp:revision>
  <dcterms:created xsi:type="dcterms:W3CDTF">2021-09-07T09:26:13Z</dcterms:created>
  <dcterms:modified xsi:type="dcterms:W3CDTF">2021-10-06T04:46:07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5D6E629E9BD642AE209729F090245C</vt:lpwstr>
  </property>
</Properties>
</file>